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7"/>
  </p:notesMasterIdLst>
  <p:sldIdLst>
    <p:sldId id="1614" r:id="rId2"/>
    <p:sldId id="1615" r:id="rId3"/>
    <p:sldId id="1170" r:id="rId4"/>
    <p:sldId id="1616" r:id="rId5"/>
    <p:sldId id="113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27"/>
    <p:restoredTop sz="96296"/>
  </p:normalViewPr>
  <p:slideViewPr>
    <p:cSldViewPr snapToGrid="0" snapToObjects="1">
      <p:cViewPr varScale="1">
        <p:scale>
          <a:sx n="96" d="100"/>
          <a:sy n="96" d="100"/>
        </p:scale>
        <p:origin x="200" y="8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4DCE46-3064-4643-B5D8-314378DD23F3}" type="datetimeFigureOut">
              <a:rPr lang="en-US" smtClean="0"/>
              <a:t>8/9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D1932-8754-834B-97E3-F0D635E807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5059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575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658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822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2977D0-16DF-4144-94E5-2041E15850FF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0499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4043034-6790-4149-B64E-CAC485301312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9868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4C7129-0516-4D39-95C4-C17CDDE84E06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6949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5FBE98F-E63C-4783-8C87-99B2C299DBA3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1105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E0E154D-2B30-4414-AF1B-5CD5450EFC82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2338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18BD629-475B-4A14-8CFE-14BC309F29F6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4642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AD6DD47-4A00-4A0F-A6B2-3C9A3CDDF41B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5470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C25E27A-E251-409E-B8F5-E4A5B299A3B1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3022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BB9952-2023-48DD-9D3E-028666D3F810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169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62231CC-09F4-4A5E-9284-A5449C2667B2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090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535B2DB-6070-4A8E-9B9A-582DA9C6F93A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808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3A98F38-41A6-4B28-9DC3-8AEBD3FF0B01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50610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BC65189-201A-44F7-BCB3-0313BF313DD6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2851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22D0D5F-E68E-4386-9391-BE6E7B6BEAA2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1586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2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1BEFA09-75EF-416E-893D-A21894B40024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A0C1F59-2627-48DB-B813-67C0C96836A6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78D98E1-86F9-4336-BA66-00637C7D39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5320063" cy="6858000"/>
          </a:xfrm>
          <a:custGeom>
            <a:avLst/>
            <a:gdLst>
              <a:gd name="connsiteX0" fmla="*/ 1331361 w 5319371"/>
              <a:gd name="connsiteY0" fmla="*/ 0 h 6858000"/>
              <a:gd name="connsiteX1" fmla="*/ 5319371 w 5319371"/>
              <a:gd name="connsiteY1" fmla="*/ 0 h 6858000"/>
              <a:gd name="connsiteX2" fmla="*/ 4021306 w 5319371"/>
              <a:gd name="connsiteY2" fmla="*/ 6720150 h 6858000"/>
              <a:gd name="connsiteX3" fmla="*/ 3240429 w 5319371"/>
              <a:gd name="connsiteY3" fmla="*/ 6858000 h 6858000"/>
              <a:gd name="connsiteX4" fmla="*/ 0 w 53193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9371" h="6858000">
                <a:moveTo>
                  <a:pt x="1331361" y="0"/>
                </a:moveTo>
                <a:lnTo>
                  <a:pt x="5319371" y="0"/>
                </a:lnTo>
                <a:lnTo>
                  <a:pt x="4021306" y="6720150"/>
                </a:ln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61357F-2910-4222-B505-2D7DEB797B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69405" y="2"/>
            <a:ext cx="4024976" cy="6714119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05CFF861-772E-4656-ABE4-7D87D4F4C674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2084BB78-79FB-4CB4-A04F-33335C5A37FC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7946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2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1F5A9E-DAA4-421B-B2E3-9A6B95EF023C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72248F4-D57F-4E6B-A274-F3F5D798CFE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079C2DF-F453-4691-84F9-7E45AA5EB1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5320063" cy="6858000"/>
          </a:xfrm>
          <a:custGeom>
            <a:avLst/>
            <a:gdLst>
              <a:gd name="connsiteX0" fmla="*/ 1331361 w 5319371"/>
              <a:gd name="connsiteY0" fmla="*/ 0 h 6858000"/>
              <a:gd name="connsiteX1" fmla="*/ 5319371 w 5319371"/>
              <a:gd name="connsiteY1" fmla="*/ 0 h 6858000"/>
              <a:gd name="connsiteX2" fmla="*/ 4021306 w 5319371"/>
              <a:gd name="connsiteY2" fmla="*/ 6720150 h 6858000"/>
              <a:gd name="connsiteX3" fmla="*/ 3240429 w 5319371"/>
              <a:gd name="connsiteY3" fmla="*/ 6858000 h 6858000"/>
              <a:gd name="connsiteX4" fmla="*/ 0 w 53193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9371" h="6858000">
                <a:moveTo>
                  <a:pt x="1331361" y="0"/>
                </a:moveTo>
                <a:lnTo>
                  <a:pt x="5319371" y="0"/>
                </a:lnTo>
                <a:lnTo>
                  <a:pt x="4021306" y="6720150"/>
                </a:ln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2293B0D-E408-4808-A94C-A661076550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69405" y="2"/>
            <a:ext cx="4024976" cy="6714119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045F628E-EF81-4C30-95D7-14E0BE347581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F203CA6A-2D43-41D0-ADBB-9AA558993DE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5341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188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8D464B-D1EB-4A95-8C60-233B632C71BC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980409" y="1732750"/>
            <a:ext cx="2429192" cy="47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 bwMode="gray">
          <a:xfrm>
            <a:off x="3771895" y="1732750"/>
            <a:ext cx="2429192" cy="47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0"/>
          </p:nvPr>
        </p:nvSpPr>
        <p:spPr bwMode="gray">
          <a:xfrm>
            <a:off x="6560457" y="1732750"/>
            <a:ext cx="2429192" cy="47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/>
          </p:nvPr>
        </p:nvSpPr>
        <p:spPr bwMode="gray">
          <a:xfrm>
            <a:off x="9351944" y="1732750"/>
            <a:ext cx="2429192" cy="475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F26E9729-F374-4B5D-8047-8A94FAAA4D9E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71190850-47C5-428A-AD0A-397C8DBD0D1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4685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B78022B-A793-432D-B64B-C56400C5EC82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FDD58F13-0397-4FD2-AEEE-447FEC7AAC1E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29360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C8A6F49-47B4-4005-8DA4-7A83A5C93204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9042368A-467A-4192-AC88-C5F7DD7592CC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781933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5DA457-7D33-4BCE-8B0D-F5ADDD8534F4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98938445-C844-4B5D-BD30-D1A022CDD4E4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20676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color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9D3C3D-8DC6-4FF6-9075-6A6F94AF8EA2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0BEF0AA-7D26-4E86-A503-22CEF564FF5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  <a:custGeom>
            <a:avLst/>
            <a:gdLst>
              <a:gd name="connsiteX0" fmla="*/ 0 w 12190413"/>
              <a:gd name="connsiteY0" fmla="*/ 0 h 6858000"/>
              <a:gd name="connsiteX1" fmla="*/ 12190413 w 12190413"/>
              <a:gd name="connsiteY1" fmla="*/ 0 h 6858000"/>
              <a:gd name="connsiteX2" fmla="*/ 12190413 w 12190413"/>
              <a:gd name="connsiteY2" fmla="*/ 6005394 h 6858000"/>
              <a:gd name="connsiteX3" fmla="*/ 9456590 w 12190413"/>
              <a:gd name="connsiteY3" fmla="*/ 6488001 h 6858000"/>
              <a:gd name="connsiteX4" fmla="*/ 9456596 w 12190413"/>
              <a:gd name="connsiteY4" fmla="*/ 6487972 h 6858000"/>
              <a:gd name="connsiteX5" fmla="*/ 7360505 w 12190413"/>
              <a:gd name="connsiteY5" fmla="*/ 6858000 h 6858000"/>
              <a:gd name="connsiteX6" fmla="*/ 0 w 1219041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0413" h="6858000">
                <a:moveTo>
                  <a:pt x="0" y="0"/>
                </a:moveTo>
                <a:lnTo>
                  <a:pt x="12190413" y="0"/>
                </a:lnTo>
                <a:lnTo>
                  <a:pt x="12190413" y="6005394"/>
                </a:lnTo>
                <a:lnTo>
                  <a:pt x="9456590" y="6488001"/>
                </a:lnTo>
                <a:lnTo>
                  <a:pt x="9456596" y="6487972"/>
                </a:lnTo>
                <a:lnTo>
                  <a:pt x="736050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MIO_VALID_LAYOUT" hidden="1">
            <a:extLst>
              <a:ext uri="{FF2B5EF4-FFF2-40B4-BE49-F238E27FC236}">
                <a16:creationId xmlns:a16="http://schemas.microsoft.com/office/drawing/2014/main" id="{E0B21575-EF11-4445-9971-15B8E3D09C0E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537173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">
    <p:bg>
      <p:bgPr>
        <a:gradFill>
          <a:gsLst>
            <a:gs pos="0">
              <a:srgbClr val="00617F"/>
            </a:gs>
            <a:gs pos="33000">
              <a:srgbClr val="00617F"/>
            </a:gs>
            <a:gs pos="72000">
              <a:srgbClr val="10384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8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B7636485-4040-4784-97E1-8C066B2E16DE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C77919B-A9AC-4BDC-AFFF-F044C1C960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088645" y="0"/>
            <a:ext cx="6103355" cy="68580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5785423" y="-9525"/>
            <a:ext cx="2503368" cy="6877050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4A09119D-9F38-41AB-8859-26653864EEDD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9ECC12B3-72E0-4498-A881-61617266AF3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2972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B52A258-6540-4627-9544-F9B90C510986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2492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2">
    <p:bg>
      <p:bgPr>
        <a:gradFill>
          <a:gsLst>
            <a:gs pos="0">
              <a:srgbClr val="2B6636"/>
            </a:gs>
            <a:gs pos="33000">
              <a:srgbClr val="2B6636"/>
            </a:gs>
            <a:gs pos="72000">
              <a:srgbClr val="00442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8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6E9B2EFF-3F88-4455-B844-45129A9E50ED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299C8ED-EE53-4A7F-803D-CF199A82E4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088645" y="0"/>
            <a:ext cx="6103355" cy="68580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5785423" y="-9525"/>
            <a:ext cx="2503368" cy="6877050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A88CA4B5-B7E5-41F4-B35E-704D4B15D87F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DCDC0750-A94B-47CA-8338-6CAF54139F0F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001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3">
    <p:bg>
      <p:bgPr>
        <a:gradFill>
          <a:gsLst>
            <a:gs pos="0">
              <a:srgbClr val="624963"/>
            </a:gs>
            <a:gs pos="33000">
              <a:srgbClr val="624963"/>
            </a:gs>
            <a:gs pos="72000">
              <a:srgbClr val="44324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8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E6410B50-7086-467A-8EA7-23B06FFC2395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94F2EE7-38AE-4C94-90ED-CC2514C3E95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088645" y="0"/>
            <a:ext cx="6103355" cy="68580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5785423" y="-9525"/>
            <a:ext cx="2503368" cy="6877050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948692EA-1588-48F4-8661-74360DD4EE60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71B4C7FF-0C4C-4B3F-B22C-DBA30DB7B6A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294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4">
    <p:bg>
      <p:bgPr>
        <a:gradFill>
          <a:gsLst>
            <a:gs pos="0">
              <a:srgbClr val="FF3162"/>
            </a:gs>
            <a:gs pos="33000">
              <a:srgbClr val="FF3162"/>
            </a:gs>
            <a:gs pos="72000">
              <a:srgbClr val="D30F4B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8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84B6D8C9-EDB7-4449-A55A-1EE50C0D9890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F279213-F726-4035-82FB-0E71165CDC5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088645" y="0"/>
            <a:ext cx="6103355" cy="68580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5785423" y="-9525"/>
            <a:ext cx="2503368" cy="6877050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C9C21A3E-D567-4639-8F8C-181AF87C82C8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30A5C010-2728-40D0-B5CD-7CA004EFBF4E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1548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5">
    <p:bg>
      <p:bgPr>
        <a:gradFill>
          <a:gsLst>
            <a:gs pos="0">
              <a:srgbClr val="00BCFF"/>
            </a:gs>
            <a:gs pos="33000">
              <a:srgbClr val="00BCFF"/>
            </a:gs>
            <a:gs pos="72000">
              <a:srgbClr val="0091D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8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5CFA4F75-19FD-4F97-A600-75F74A7A152B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A4D772A-68FD-46F3-822B-09739A1F5B3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088645" y="0"/>
            <a:ext cx="6103355" cy="68580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5785423" y="-9525"/>
            <a:ext cx="2503368" cy="6877050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5FC9B7A-0CA0-44A8-B4D5-F45FC5AF8131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41F334E9-9725-4425-A4D2-A92F3E4F981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913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6">
    <p:bg>
      <p:bgPr>
        <a:gradFill>
          <a:gsLst>
            <a:gs pos="0">
              <a:srgbClr val="89D329"/>
            </a:gs>
            <a:gs pos="33000">
              <a:srgbClr val="89D329"/>
            </a:gs>
            <a:gs pos="72000">
              <a:srgbClr val="66B51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8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E898A3C5-D206-4418-912D-C5E27F82FBB8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3BF6C4A-D390-4C53-AA76-7A1C75E3189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088645" y="0"/>
            <a:ext cx="6103355" cy="6858000"/>
          </a:xfrm>
          <a:custGeom>
            <a:avLst/>
            <a:gdLst>
              <a:gd name="connsiteX0" fmla="*/ 2207052 w 6102561"/>
              <a:gd name="connsiteY0" fmla="*/ 0 h 6858000"/>
              <a:gd name="connsiteX1" fmla="*/ 6102561 w 6102561"/>
              <a:gd name="connsiteY1" fmla="*/ 0 h 6858000"/>
              <a:gd name="connsiteX2" fmla="*/ 6102561 w 6102561"/>
              <a:gd name="connsiteY2" fmla="*/ 6004136 h 6858000"/>
              <a:gd name="connsiteX3" fmla="*/ 1260056 w 6102561"/>
              <a:gd name="connsiteY3" fmla="*/ 6858000 h 6858000"/>
              <a:gd name="connsiteX4" fmla="*/ 0 w 6102561"/>
              <a:gd name="connsiteY4" fmla="*/ 6858000 h 6858000"/>
              <a:gd name="connsiteX5" fmla="*/ 1600143 w 6102561"/>
              <a:gd name="connsiteY5" fmla="*/ 1663368 h 6858000"/>
              <a:gd name="connsiteX6" fmla="*/ 2112522 w 6102561"/>
              <a:gd name="connsiteY6" fmla="*/ 0 h 6858000"/>
              <a:gd name="connsiteX7" fmla="*/ 2187892 w 6102561"/>
              <a:gd name="connsiteY7" fmla="*/ 0 h 6858000"/>
              <a:gd name="connsiteX8" fmla="*/ 1703999 w 6102561"/>
              <a:gd name="connsiteY8" fmla="*/ 13262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2561" h="6858000">
                <a:moveTo>
                  <a:pt x="2207052" y="0"/>
                </a:moveTo>
                <a:lnTo>
                  <a:pt x="6102561" y="0"/>
                </a:lnTo>
                <a:lnTo>
                  <a:pt x="6102561" y="6004136"/>
                </a:lnTo>
                <a:lnTo>
                  <a:pt x="1260056" y="6858000"/>
                </a:lnTo>
                <a:lnTo>
                  <a:pt x="0" y="6858000"/>
                </a:lnTo>
                <a:lnTo>
                  <a:pt x="1600143" y="1663368"/>
                </a:lnTo>
                <a:close/>
                <a:moveTo>
                  <a:pt x="2112522" y="0"/>
                </a:moveTo>
                <a:lnTo>
                  <a:pt x="2187892" y="0"/>
                </a:lnTo>
                <a:lnTo>
                  <a:pt x="1703999" y="1326213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5785423" y="-9525"/>
            <a:ext cx="2503368" cy="6877050"/>
          </a:xfrm>
          <a:prstGeom prst="line">
            <a:avLst/>
          </a:prstGeom>
          <a:ln w="1905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666C0A2E-3F77-4A81-B52F-2F4F753E635B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2F42F6C4-4DA4-49EF-B744-55B613463864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9960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">
    <p:bg>
      <p:bgPr>
        <a:gradFill>
          <a:gsLst>
            <a:gs pos="0">
              <a:srgbClr val="00617F"/>
            </a:gs>
            <a:gs pos="38000">
              <a:srgbClr val="00617F"/>
            </a:gs>
            <a:gs pos="100000">
              <a:srgbClr val="0091D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9" y="1732750"/>
            <a:ext cx="3858921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0ED2C21D-F0E9-4E87-9E22-F4213E6384D3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1604325D-61B9-4541-AF56-CEC13BC3AF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151385" y="0"/>
            <a:ext cx="8040615" cy="68580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gray">
          <a:xfrm flipH="1">
            <a:off x="4016592" y="0"/>
            <a:ext cx="3841309" cy="6858000"/>
          </a:xfrm>
          <a:prstGeom prst="line">
            <a:avLst/>
          </a:prstGeom>
          <a:ln w="19050">
            <a:solidFill>
              <a:srgbClr val="89D3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D05AEB66-0790-4354-BEA5-8E1A8FDE2081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Logoschutz" hidden="1">
            <a:extLst>
              <a:ext uri="{FF2B5EF4-FFF2-40B4-BE49-F238E27FC236}">
                <a16:creationId xmlns:a16="http://schemas.microsoft.com/office/drawing/2014/main" id="{BE18D3D7-B8CE-426F-AB9B-F9D418A41F9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4346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 3">
    <p:bg>
      <p:bgPr>
        <a:gradFill>
          <a:gsLst>
            <a:gs pos="0">
              <a:srgbClr val="443247"/>
            </a:gs>
            <a:gs pos="38000">
              <a:srgbClr val="443247"/>
            </a:gs>
            <a:gs pos="100000">
              <a:srgbClr val="624963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9" y="1732750"/>
            <a:ext cx="3858921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9BE03C71-C3C6-463C-8DDF-E1871E1F2805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4A5FB0A-3867-4C21-BFD0-E613EDFC1E9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151385" y="0"/>
            <a:ext cx="8040615" cy="68580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gray">
          <a:xfrm flipH="1">
            <a:off x="4016592" y="0"/>
            <a:ext cx="3841309" cy="68580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643C7DD2-58DD-4C8E-9FA0-5B392F29948F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4F1AD3B7-6435-498F-BDBE-7DFFC6BFE07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9609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 4">
    <p:bg>
      <p:bgPr>
        <a:gradFill>
          <a:gsLst>
            <a:gs pos="0">
              <a:srgbClr val="0091DF"/>
            </a:gs>
            <a:gs pos="38000">
              <a:srgbClr val="0091DF"/>
            </a:gs>
            <a:gs pos="100000">
              <a:srgbClr val="00BCF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9" y="1732750"/>
            <a:ext cx="3858921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A4A4B4F9-2DAC-4DE6-84C1-3A0FF9CD590C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F08115F-CF92-48E8-8EC6-A5BFB18393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151385" y="0"/>
            <a:ext cx="8040615" cy="68580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blackGray">
          <a:xfrm flipH="1">
            <a:off x="4016592" y="0"/>
            <a:ext cx="3841309" cy="68580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A4C8EED9-FC17-4D23-A01B-8C06515C926B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A06A077B-1F3F-4691-B55B-CFBCDBC49BF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272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small 5">
    <p:bg>
      <p:bgPr>
        <a:gradFill>
          <a:gsLst>
            <a:gs pos="0">
              <a:srgbClr val="66B512"/>
            </a:gs>
            <a:gs pos="38000">
              <a:srgbClr val="66B512"/>
            </a:gs>
            <a:gs pos="100000">
              <a:srgbClr val="89D329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blackGray">
          <a:xfrm>
            <a:off x="980409" y="1732750"/>
            <a:ext cx="3858921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C39251BD-2C41-448A-BC2E-C9333ED70C9E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E362B84-BE35-418F-90E4-895912ADBF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151385" y="0"/>
            <a:ext cx="8040615" cy="6858000"/>
          </a:xfrm>
          <a:custGeom>
            <a:avLst/>
            <a:gdLst>
              <a:gd name="connsiteX0" fmla="*/ 3718833 w 8039568"/>
              <a:gd name="connsiteY0" fmla="*/ 0 h 6858000"/>
              <a:gd name="connsiteX1" fmla="*/ 8039568 w 8039568"/>
              <a:gd name="connsiteY1" fmla="*/ 0 h 6858000"/>
              <a:gd name="connsiteX2" fmla="*/ 8039568 w 8039568"/>
              <a:gd name="connsiteY2" fmla="*/ 2282325 h 6858000"/>
              <a:gd name="connsiteX3" fmla="*/ 3661832 w 8039568"/>
              <a:gd name="connsiteY3" fmla="*/ 6858000 h 6858000"/>
              <a:gd name="connsiteX4" fmla="*/ 0 w 8039568"/>
              <a:gd name="connsiteY4" fmla="*/ 6858000 h 6858000"/>
              <a:gd name="connsiteX5" fmla="*/ 1896492 w 8039568"/>
              <a:gd name="connsiteY5" fmla="*/ 3252421 h 6858000"/>
              <a:gd name="connsiteX6" fmla="*/ 3607226 w 8039568"/>
              <a:gd name="connsiteY6" fmla="*/ 0 h 6858000"/>
              <a:gd name="connsiteX7" fmla="*/ 3698200 w 8039568"/>
              <a:gd name="connsiteY7" fmla="*/ 0 h 6858000"/>
              <a:gd name="connsiteX8" fmla="*/ 2212758 w 8039568"/>
              <a:gd name="connsiteY8" fmla="*/ 26511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39568" h="6858000">
                <a:moveTo>
                  <a:pt x="3718833" y="0"/>
                </a:moveTo>
                <a:lnTo>
                  <a:pt x="8039568" y="0"/>
                </a:lnTo>
                <a:lnTo>
                  <a:pt x="8039568" y="2282325"/>
                </a:lnTo>
                <a:lnTo>
                  <a:pt x="3661832" y="6858000"/>
                </a:lnTo>
                <a:lnTo>
                  <a:pt x="0" y="6858000"/>
                </a:lnTo>
                <a:lnTo>
                  <a:pt x="1896492" y="3252421"/>
                </a:lnTo>
                <a:close/>
                <a:moveTo>
                  <a:pt x="3607226" y="0"/>
                </a:moveTo>
                <a:lnTo>
                  <a:pt x="3698200" y="0"/>
                </a:lnTo>
                <a:lnTo>
                  <a:pt x="2212758" y="2651141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E924F3-7508-40CC-AB3B-5925C953420E}"/>
              </a:ext>
            </a:extLst>
          </p:cNvPr>
          <p:cNvCxnSpPr/>
          <p:nvPr/>
        </p:nvCxnSpPr>
        <p:spPr bwMode="gray">
          <a:xfrm flipH="1">
            <a:off x="4016592" y="0"/>
            <a:ext cx="3841309" cy="68580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7416F347-4E52-4FF4-8641-C87110E17F39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EA8AE9BC-B969-43D6-B9B7-A7674170C01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30021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1">
            <a:extLst>
              <a:ext uri="{FF2B5EF4-FFF2-40B4-BE49-F238E27FC236}">
                <a16:creationId xmlns:a16="http://schemas.microsoft.com/office/drawing/2014/main" id="{E247B09A-C17E-49FC-8B64-0C7914DED4F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blackGray">
          <a:xfrm>
            <a:off x="3" y="3"/>
            <a:ext cx="8115454" cy="6857998"/>
          </a:xfrm>
          <a:custGeom>
            <a:avLst/>
            <a:gdLst>
              <a:gd name="connsiteX0" fmla="*/ 385599 w 8114398"/>
              <a:gd name="connsiteY0" fmla="*/ 941860 h 6857998"/>
              <a:gd name="connsiteX1" fmla="*/ 405601 w 8114398"/>
              <a:gd name="connsiteY1" fmla="*/ 941860 h 6857998"/>
              <a:gd name="connsiteX2" fmla="*/ 411316 w 8114398"/>
              <a:gd name="connsiteY2" fmla="*/ 946623 h 6857998"/>
              <a:gd name="connsiteX3" fmla="*/ 405601 w 8114398"/>
              <a:gd name="connsiteY3" fmla="*/ 952338 h 6857998"/>
              <a:gd name="connsiteX4" fmla="*/ 385599 w 8114398"/>
              <a:gd name="connsiteY4" fmla="*/ 952338 h 6857998"/>
              <a:gd name="connsiteX5" fmla="*/ 385599 w 8114398"/>
              <a:gd name="connsiteY5" fmla="*/ 941860 h 6857998"/>
              <a:gd name="connsiteX6" fmla="*/ 372264 w 8114398"/>
              <a:gd name="connsiteY6" fmla="*/ 929478 h 6857998"/>
              <a:gd name="connsiteX7" fmla="*/ 372264 w 8114398"/>
              <a:gd name="connsiteY7" fmla="*/ 986628 h 6857998"/>
              <a:gd name="connsiteX8" fmla="*/ 385599 w 8114398"/>
              <a:gd name="connsiteY8" fmla="*/ 986628 h 6857998"/>
              <a:gd name="connsiteX9" fmla="*/ 385599 w 8114398"/>
              <a:gd name="connsiteY9" fmla="*/ 964720 h 6857998"/>
              <a:gd name="connsiteX10" fmla="*/ 396076 w 8114398"/>
              <a:gd name="connsiteY10" fmla="*/ 964720 h 6857998"/>
              <a:gd name="connsiteX11" fmla="*/ 413221 w 8114398"/>
              <a:gd name="connsiteY11" fmla="*/ 986628 h 6857998"/>
              <a:gd name="connsiteX12" fmla="*/ 429414 w 8114398"/>
              <a:gd name="connsiteY12" fmla="*/ 986628 h 6857998"/>
              <a:gd name="connsiteX13" fmla="*/ 413221 w 8114398"/>
              <a:gd name="connsiteY13" fmla="*/ 964720 h 6857998"/>
              <a:gd name="connsiteX14" fmla="*/ 425604 w 8114398"/>
              <a:gd name="connsiteY14" fmla="*/ 947575 h 6857998"/>
              <a:gd name="connsiteX15" fmla="*/ 407506 w 8114398"/>
              <a:gd name="connsiteY15" fmla="*/ 929478 h 6857998"/>
              <a:gd name="connsiteX16" fmla="*/ 372264 w 8114398"/>
              <a:gd name="connsiteY16" fmla="*/ 929478 h 6857998"/>
              <a:gd name="connsiteX17" fmla="*/ 371472 w 8114398"/>
              <a:gd name="connsiteY17" fmla="*/ 860422 h 6857998"/>
              <a:gd name="connsiteX18" fmla="*/ 371472 w 8114398"/>
              <a:gd name="connsiteY18" fmla="*/ 917572 h 6857998"/>
              <a:gd name="connsiteX19" fmla="*/ 419097 w 8114398"/>
              <a:gd name="connsiteY19" fmla="*/ 917572 h 6857998"/>
              <a:gd name="connsiteX20" fmla="*/ 419097 w 8114398"/>
              <a:gd name="connsiteY20" fmla="*/ 906142 h 6857998"/>
              <a:gd name="connsiteX21" fmla="*/ 383854 w 8114398"/>
              <a:gd name="connsiteY21" fmla="*/ 906142 h 6857998"/>
              <a:gd name="connsiteX22" fmla="*/ 383854 w 8114398"/>
              <a:gd name="connsiteY22" fmla="*/ 893759 h 6857998"/>
              <a:gd name="connsiteX23" fmla="*/ 417192 w 8114398"/>
              <a:gd name="connsiteY23" fmla="*/ 893759 h 6857998"/>
              <a:gd name="connsiteX24" fmla="*/ 417192 w 8114398"/>
              <a:gd name="connsiteY24" fmla="*/ 882329 h 6857998"/>
              <a:gd name="connsiteX25" fmla="*/ 383854 w 8114398"/>
              <a:gd name="connsiteY25" fmla="*/ 882329 h 6857998"/>
              <a:gd name="connsiteX26" fmla="*/ 383854 w 8114398"/>
              <a:gd name="connsiteY26" fmla="*/ 871852 h 6857998"/>
              <a:gd name="connsiteX27" fmla="*/ 419097 w 8114398"/>
              <a:gd name="connsiteY27" fmla="*/ 871852 h 6857998"/>
              <a:gd name="connsiteX28" fmla="*/ 419097 w 8114398"/>
              <a:gd name="connsiteY28" fmla="*/ 860422 h 6857998"/>
              <a:gd name="connsiteX29" fmla="*/ 251457 w 8114398"/>
              <a:gd name="connsiteY29" fmla="*/ 827084 h 6857998"/>
              <a:gd name="connsiteX30" fmla="*/ 276222 w 8114398"/>
              <a:gd name="connsiteY30" fmla="*/ 827084 h 6857998"/>
              <a:gd name="connsiteX31" fmla="*/ 281937 w 8114398"/>
              <a:gd name="connsiteY31" fmla="*/ 832799 h 6857998"/>
              <a:gd name="connsiteX32" fmla="*/ 276222 w 8114398"/>
              <a:gd name="connsiteY32" fmla="*/ 838514 h 6857998"/>
              <a:gd name="connsiteX33" fmla="*/ 251457 w 8114398"/>
              <a:gd name="connsiteY33" fmla="*/ 838514 h 6857998"/>
              <a:gd name="connsiteX34" fmla="*/ 337182 w 8114398"/>
              <a:gd name="connsiteY34" fmla="*/ 808034 h 6857998"/>
              <a:gd name="connsiteX35" fmla="*/ 346707 w 8114398"/>
              <a:gd name="connsiteY35" fmla="*/ 828989 h 6857998"/>
              <a:gd name="connsiteX36" fmla="*/ 327658 w 8114398"/>
              <a:gd name="connsiteY36" fmla="*/ 828989 h 6857998"/>
              <a:gd name="connsiteX37" fmla="*/ 518158 w 8114398"/>
              <a:gd name="connsiteY37" fmla="*/ 806129 h 6857998"/>
              <a:gd name="connsiteX38" fmla="*/ 538160 w 8114398"/>
              <a:gd name="connsiteY38" fmla="*/ 806129 h 6857998"/>
              <a:gd name="connsiteX39" fmla="*/ 543875 w 8114398"/>
              <a:gd name="connsiteY39" fmla="*/ 810892 h 6857998"/>
              <a:gd name="connsiteX40" fmla="*/ 538160 w 8114398"/>
              <a:gd name="connsiteY40" fmla="*/ 816608 h 6857998"/>
              <a:gd name="connsiteX41" fmla="*/ 518158 w 8114398"/>
              <a:gd name="connsiteY41" fmla="*/ 816608 h 6857998"/>
              <a:gd name="connsiteX42" fmla="*/ 518158 w 8114398"/>
              <a:gd name="connsiteY42" fmla="*/ 806129 h 6857998"/>
              <a:gd name="connsiteX43" fmla="*/ 251457 w 8114398"/>
              <a:gd name="connsiteY43" fmla="*/ 806129 h 6857998"/>
              <a:gd name="connsiteX44" fmla="*/ 275269 w 8114398"/>
              <a:gd name="connsiteY44" fmla="*/ 806129 h 6857998"/>
              <a:gd name="connsiteX45" fmla="*/ 280032 w 8114398"/>
              <a:gd name="connsiteY45" fmla="*/ 810892 h 6857998"/>
              <a:gd name="connsiteX46" fmla="*/ 275269 w 8114398"/>
              <a:gd name="connsiteY46" fmla="*/ 815654 h 6857998"/>
              <a:gd name="connsiteX47" fmla="*/ 251457 w 8114398"/>
              <a:gd name="connsiteY47" fmla="*/ 815654 h 6857998"/>
              <a:gd name="connsiteX48" fmla="*/ 361948 w 8114398"/>
              <a:gd name="connsiteY48" fmla="*/ 793748 h 6857998"/>
              <a:gd name="connsiteX49" fmla="*/ 388618 w 8114398"/>
              <a:gd name="connsiteY49" fmla="*/ 830895 h 6857998"/>
              <a:gd name="connsiteX50" fmla="*/ 388618 w 8114398"/>
              <a:gd name="connsiteY50" fmla="*/ 850898 h 6857998"/>
              <a:gd name="connsiteX51" fmla="*/ 401953 w 8114398"/>
              <a:gd name="connsiteY51" fmla="*/ 850898 h 6857998"/>
              <a:gd name="connsiteX52" fmla="*/ 401953 w 8114398"/>
              <a:gd name="connsiteY52" fmla="*/ 830895 h 6857998"/>
              <a:gd name="connsiteX53" fmla="*/ 428623 w 8114398"/>
              <a:gd name="connsiteY53" fmla="*/ 793748 h 6857998"/>
              <a:gd name="connsiteX54" fmla="*/ 413383 w 8114398"/>
              <a:gd name="connsiteY54" fmla="*/ 793748 h 6857998"/>
              <a:gd name="connsiteX55" fmla="*/ 394333 w 8114398"/>
              <a:gd name="connsiteY55" fmla="*/ 819465 h 6857998"/>
              <a:gd name="connsiteX56" fmla="*/ 377188 w 8114398"/>
              <a:gd name="connsiteY56" fmla="*/ 793748 h 6857998"/>
              <a:gd name="connsiteX57" fmla="*/ 438148 w 8114398"/>
              <a:gd name="connsiteY57" fmla="*/ 793748 h 6857998"/>
              <a:gd name="connsiteX58" fmla="*/ 438148 w 8114398"/>
              <a:gd name="connsiteY58" fmla="*/ 850898 h 6857998"/>
              <a:gd name="connsiteX59" fmla="*/ 495298 w 8114398"/>
              <a:gd name="connsiteY59" fmla="*/ 850898 h 6857998"/>
              <a:gd name="connsiteX60" fmla="*/ 495298 w 8114398"/>
              <a:gd name="connsiteY60" fmla="*/ 839468 h 6857998"/>
              <a:gd name="connsiteX61" fmla="*/ 452435 w 8114398"/>
              <a:gd name="connsiteY61" fmla="*/ 839468 h 6857998"/>
              <a:gd name="connsiteX62" fmla="*/ 452435 w 8114398"/>
              <a:gd name="connsiteY62" fmla="*/ 828038 h 6857998"/>
              <a:gd name="connsiteX63" fmla="*/ 493393 w 8114398"/>
              <a:gd name="connsiteY63" fmla="*/ 828038 h 6857998"/>
              <a:gd name="connsiteX64" fmla="*/ 493393 w 8114398"/>
              <a:gd name="connsiteY64" fmla="*/ 816608 h 6857998"/>
              <a:gd name="connsiteX65" fmla="*/ 452435 w 8114398"/>
              <a:gd name="connsiteY65" fmla="*/ 816608 h 6857998"/>
              <a:gd name="connsiteX66" fmla="*/ 452435 w 8114398"/>
              <a:gd name="connsiteY66" fmla="*/ 807083 h 6857998"/>
              <a:gd name="connsiteX67" fmla="*/ 495298 w 8114398"/>
              <a:gd name="connsiteY67" fmla="*/ 807083 h 6857998"/>
              <a:gd name="connsiteX68" fmla="*/ 495298 w 8114398"/>
              <a:gd name="connsiteY68" fmla="*/ 793748 h 6857998"/>
              <a:gd name="connsiteX69" fmla="*/ 504823 w 8114398"/>
              <a:gd name="connsiteY69" fmla="*/ 793747 h 6857998"/>
              <a:gd name="connsiteX70" fmla="*/ 504823 w 8114398"/>
              <a:gd name="connsiteY70" fmla="*/ 850897 h 6857998"/>
              <a:gd name="connsiteX71" fmla="*/ 518158 w 8114398"/>
              <a:gd name="connsiteY71" fmla="*/ 850897 h 6857998"/>
              <a:gd name="connsiteX72" fmla="*/ 518158 w 8114398"/>
              <a:gd name="connsiteY72" fmla="*/ 828989 h 6857998"/>
              <a:gd name="connsiteX73" fmla="*/ 528635 w 8114398"/>
              <a:gd name="connsiteY73" fmla="*/ 828989 h 6857998"/>
              <a:gd name="connsiteX74" fmla="*/ 545780 w 8114398"/>
              <a:gd name="connsiteY74" fmla="*/ 850897 h 6857998"/>
              <a:gd name="connsiteX75" fmla="*/ 561973 w 8114398"/>
              <a:gd name="connsiteY75" fmla="*/ 850897 h 6857998"/>
              <a:gd name="connsiteX76" fmla="*/ 545780 w 8114398"/>
              <a:gd name="connsiteY76" fmla="*/ 828989 h 6857998"/>
              <a:gd name="connsiteX77" fmla="*/ 558163 w 8114398"/>
              <a:gd name="connsiteY77" fmla="*/ 811844 h 6857998"/>
              <a:gd name="connsiteX78" fmla="*/ 540065 w 8114398"/>
              <a:gd name="connsiteY78" fmla="*/ 793747 h 6857998"/>
              <a:gd name="connsiteX79" fmla="*/ 504823 w 8114398"/>
              <a:gd name="connsiteY79" fmla="*/ 793747 h 6857998"/>
              <a:gd name="connsiteX80" fmla="*/ 331468 w 8114398"/>
              <a:gd name="connsiteY80" fmla="*/ 793747 h 6857998"/>
              <a:gd name="connsiteX81" fmla="*/ 304798 w 8114398"/>
              <a:gd name="connsiteY81" fmla="*/ 850897 h 6857998"/>
              <a:gd name="connsiteX82" fmla="*/ 319084 w 8114398"/>
              <a:gd name="connsiteY82" fmla="*/ 850897 h 6857998"/>
              <a:gd name="connsiteX83" fmla="*/ 321943 w 8114398"/>
              <a:gd name="connsiteY83" fmla="*/ 841372 h 6857998"/>
              <a:gd name="connsiteX84" fmla="*/ 352422 w 8114398"/>
              <a:gd name="connsiteY84" fmla="*/ 841372 h 6857998"/>
              <a:gd name="connsiteX85" fmla="*/ 357184 w 8114398"/>
              <a:gd name="connsiteY85" fmla="*/ 850897 h 6857998"/>
              <a:gd name="connsiteX86" fmla="*/ 371472 w 8114398"/>
              <a:gd name="connsiteY86" fmla="*/ 850897 h 6857998"/>
              <a:gd name="connsiteX87" fmla="*/ 343849 w 8114398"/>
              <a:gd name="connsiteY87" fmla="*/ 793747 h 6857998"/>
              <a:gd name="connsiteX88" fmla="*/ 238122 w 8114398"/>
              <a:gd name="connsiteY88" fmla="*/ 793747 h 6857998"/>
              <a:gd name="connsiteX89" fmla="*/ 238122 w 8114398"/>
              <a:gd name="connsiteY89" fmla="*/ 850897 h 6857998"/>
              <a:gd name="connsiteX90" fmla="*/ 278127 w 8114398"/>
              <a:gd name="connsiteY90" fmla="*/ 850897 h 6857998"/>
              <a:gd name="connsiteX91" fmla="*/ 295272 w 8114398"/>
              <a:gd name="connsiteY91" fmla="*/ 833752 h 6857998"/>
              <a:gd name="connsiteX92" fmla="*/ 289557 w 8114398"/>
              <a:gd name="connsiteY92" fmla="*/ 821369 h 6857998"/>
              <a:gd name="connsiteX93" fmla="*/ 293367 w 8114398"/>
              <a:gd name="connsiteY93" fmla="*/ 810892 h 6857998"/>
              <a:gd name="connsiteX94" fmla="*/ 277174 w 8114398"/>
              <a:gd name="connsiteY94" fmla="*/ 793747 h 6857998"/>
              <a:gd name="connsiteX95" fmla="*/ 238122 w 8114398"/>
              <a:gd name="connsiteY95" fmla="*/ 793747 h 6857998"/>
              <a:gd name="connsiteX96" fmla="*/ 394333 w 8114398"/>
              <a:gd name="connsiteY96" fmla="*/ 741360 h 6857998"/>
              <a:gd name="connsiteX97" fmla="*/ 404810 w 8114398"/>
              <a:gd name="connsiteY97" fmla="*/ 762315 h 6857998"/>
              <a:gd name="connsiteX98" fmla="*/ 384808 w 8114398"/>
              <a:gd name="connsiteY98" fmla="*/ 762315 h 6857998"/>
              <a:gd name="connsiteX99" fmla="*/ 388618 w 8114398"/>
              <a:gd name="connsiteY99" fmla="*/ 727073 h 6857998"/>
              <a:gd name="connsiteX100" fmla="*/ 361948 w 8114398"/>
              <a:gd name="connsiteY100" fmla="*/ 784223 h 6857998"/>
              <a:gd name="connsiteX101" fmla="*/ 375283 w 8114398"/>
              <a:gd name="connsiteY101" fmla="*/ 784223 h 6857998"/>
              <a:gd name="connsiteX102" fmla="*/ 380045 w 8114398"/>
              <a:gd name="connsiteY102" fmla="*/ 774698 h 6857998"/>
              <a:gd name="connsiteX103" fmla="*/ 409573 w 8114398"/>
              <a:gd name="connsiteY103" fmla="*/ 774698 h 6857998"/>
              <a:gd name="connsiteX104" fmla="*/ 414335 w 8114398"/>
              <a:gd name="connsiteY104" fmla="*/ 784223 h 6857998"/>
              <a:gd name="connsiteX105" fmla="*/ 428623 w 8114398"/>
              <a:gd name="connsiteY105" fmla="*/ 784223 h 6857998"/>
              <a:gd name="connsiteX106" fmla="*/ 401000 w 8114398"/>
              <a:gd name="connsiteY106" fmla="*/ 727073 h 6857998"/>
              <a:gd name="connsiteX107" fmla="*/ 384808 w 8114398"/>
              <a:gd name="connsiteY107" fmla="*/ 693735 h 6857998"/>
              <a:gd name="connsiteX108" fmla="*/ 409573 w 8114398"/>
              <a:gd name="connsiteY108" fmla="*/ 693735 h 6857998"/>
              <a:gd name="connsiteX109" fmla="*/ 415288 w 8114398"/>
              <a:gd name="connsiteY109" fmla="*/ 699450 h 6857998"/>
              <a:gd name="connsiteX110" fmla="*/ 409573 w 8114398"/>
              <a:gd name="connsiteY110" fmla="*/ 705165 h 6857998"/>
              <a:gd name="connsiteX111" fmla="*/ 384808 w 8114398"/>
              <a:gd name="connsiteY111" fmla="*/ 705165 h 6857998"/>
              <a:gd name="connsiteX112" fmla="*/ 384808 w 8114398"/>
              <a:gd name="connsiteY112" fmla="*/ 672780 h 6857998"/>
              <a:gd name="connsiteX113" fmla="*/ 408620 w 8114398"/>
              <a:gd name="connsiteY113" fmla="*/ 672780 h 6857998"/>
              <a:gd name="connsiteX114" fmla="*/ 413383 w 8114398"/>
              <a:gd name="connsiteY114" fmla="*/ 677543 h 6857998"/>
              <a:gd name="connsiteX115" fmla="*/ 408620 w 8114398"/>
              <a:gd name="connsiteY115" fmla="*/ 682305 h 6857998"/>
              <a:gd name="connsiteX116" fmla="*/ 384808 w 8114398"/>
              <a:gd name="connsiteY116" fmla="*/ 682305 h 6857998"/>
              <a:gd name="connsiteX117" fmla="*/ 371473 w 8114398"/>
              <a:gd name="connsiteY117" fmla="*/ 660398 h 6857998"/>
              <a:gd name="connsiteX118" fmla="*/ 371473 w 8114398"/>
              <a:gd name="connsiteY118" fmla="*/ 717548 h 6857998"/>
              <a:gd name="connsiteX119" fmla="*/ 411478 w 8114398"/>
              <a:gd name="connsiteY119" fmla="*/ 717548 h 6857998"/>
              <a:gd name="connsiteX120" fmla="*/ 428623 w 8114398"/>
              <a:gd name="connsiteY120" fmla="*/ 700403 h 6857998"/>
              <a:gd name="connsiteX121" fmla="*/ 422908 w 8114398"/>
              <a:gd name="connsiteY121" fmla="*/ 688020 h 6857998"/>
              <a:gd name="connsiteX122" fmla="*/ 427670 w 8114398"/>
              <a:gd name="connsiteY122" fmla="*/ 676590 h 6857998"/>
              <a:gd name="connsiteX123" fmla="*/ 410525 w 8114398"/>
              <a:gd name="connsiteY123" fmla="*/ 660398 h 6857998"/>
              <a:gd name="connsiteX124" fmla="*/ 371473 w 8114398"/>
              <a:gd name="connsiteY124" fmla="*/ 660398 h 6857998"/>
              <a:gd name="connsiteX125" fmla="*/ 400049 w 8114398"/>
              <a:gd name="connsiteY125" fmla="*/ 644683 h 6857998"/>
              <a:gd name="connsiteX126" fmla="*/ 575309 w 8114398"/>
              <a:gd name="connsiteY126" fmla="*/ 822800 h 6857998"/>
              <a:gd name="connsiteX127" fmla="*/ 400049 w 8114398"/>
              <a:gd name="connsiteY127" fmla="*/ 996155 h 6857998"/>
              <a:gd name="connsiteX128" fmla="*/ 224789 w 8114398"/>
              <a:gd name="connsiteY128" fmla="*/ 819943 h 6857998"/>
              <a:gd name="connsiteX129" fmla="*/ 400049 w 8114398"/>
              <a:gd name="connsiteY129" fmla="*/ 644683 h 6857998"/>
              <a:gd name="connsiteX130" fmla="*/ 400049 w 8114398"/>
              <a:gd name="connsiteY130" fmla="*/ 619918 h 6857998"/>
              <a:gd name="connsiteX131" fmla="*/ 200024 w 8114398"/>
              <a:gd name="connsiteY131" fmla="*/ 819943 h 6857998"/>
              <a:gd name="connsiteX132" fmla="*/ 400049 w 8114398"/>
              <a:gd name="connsiteY132" fmla="*/ 1019968 h 6857998"/>
              <a:gd name="connsiteX133" fmla="*/ 600074 w 8114398"/>
              <a:gd name="connsiteY133" fmla="*/ 819943 h 6857998"/>
              <a:gd name="connsiteX134" fmla="*/ 400049 w 8114398"/>
              <a:gd name="connsiteY134" fmla="*/ 619918 h 6857998"/>
              <a:gd name="connsiteX135" fmla="*/ 6285641 w 8114398"/>
              <a:gd name="connsiteY135" fmla="*/ 0 h 6857998"/>
              <a:gd name="connsiteX136" fmla="*/ 8114398 w 8114398"/>
              <a:gd name="connsiteY136" fmla="*/ 0 h 6857998"/>
              <a:gd name="connsiteX137" fmla="*/ 8114398 w 8114398"/>
              <a:gd name="connsiteY137" fmla="*/ 6857998 h 6857998"/>
              <a:gd name="connsiteX138" fmla="*/ 3780054 w 8114398"/>
              <a:gd name="connsiteY138" fmla="*/ 6857998 h 6857998"/>
              <a:gd name="connsiteX139" fmla="*/ 0 w 8114398"/>
              <a:gd name="connsiteY139" fmla="*/ 0 h 6857998"/>
              <a:gd name="connsiteX140" fmla="*/ 6266477 w 8114398"/>
              <a:gd name="connsiteY140" fmla="*/ 0 h 6857998"/>
              <a:gd name="connsiteX141" fmla="*/ 3760890 w 8114398"/>
              <a:gd name="connsiteY141" fmla="*/ 6857998 h 6857998"/>
              <a:gd name="connsiteX142" fmla="*/ 0 w 8114398"/>
              <a:gd name="connsiteY142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8114398" h="6857998">
                <a:moveTo>
                  <a:pt x="385599" y="941860"/>
                </a:moveTo>
                <a:cubicBezTo>
                  <a:pt x="385599" y="941860"/>
                  <a:pt x="385599" y="941860"/>
                  <a:pt x="405601" y="941860"/>
                </a:cubicBezTo>
                <a:cubicBezTo>
                  <a:pt x="408459" y="941860"/>
                  <a:pt x="411316" y="944718"/>
                  <a:pt x="411316" y="946623"/>
                </a:cubicBezTo>
                <a:cubicBezTo>
                  <a:pt x="411316" y="950433"/>
                  <a:pt x="408459" y="952338"/>
                  <a:pt x="405601" y="952338"/>
                </a:cubicBezTo>
                <a:cubicBezTo>
                  <a:pt x="405601" y="952338"/>
                  <a:pt x="405601" y="952338"/>
                  <a:pt x="385599" y="952338"/>
                </a:cubicBezTo>
                <a:cubicBezTo>
                  <a:pt x="385599" y="952338"/>
                  <a:pt x="385599" y="952338"/>
                  <a:pt x="385599" y="941860"/>
                </a:cubicBezTo>
                <a:close/>
                <a:moveTo>
                  <a:pt x="372264" y="929478"/>
                </a:moveTo>
                <a:cubicBezTo>
                  <a:pt x="372264" y="929478"/>
                  <a:pt x="372264" y="929478"/>
                  <a:pt x="372264" y="986628"/>
                </a:cubicBezTo>
                <a:cubicBezTo>
                  <a:pt x="372264" y="986628"/>
                  <a:pt x="372264" y="986628"/>
                  <a:pt x="385599" y="986628"/>
                </a:cubicBezTo>
                <a:cubicBezTo>
                  <a:pt x="385599" y="986628"/>
                  <a:pt x="385599" y="986628"/>
                  <a:pt x="385599" y="964720"/>
                </a:cubicBezTo>
                <a:cubicBezTo>
                  <a:pt x="385599" y="964720"/>
                  <a:pt x="385599" y="964720"/>
                  <a:pt x="396076" y="964720"/>
                </a:cubicBezTo>
                <a:lnTo>
                  <a:pt x="413221" y="986628"/>
                </a:lnTo>
                <a:cubicBezTo>
                  <a:pt x="413221" y="986628"/>
                  <a:pt x="413221" y="986628"/>
                  <a:pt x="429414" y="986628"/>
                </a:cubicBezTo>
                <a:cubicBezTo>
                  <a:pt x="429414" y="986628"/>
                  <a:pt x="429414" y="986628"/>
                  <a:pt x="413221" y="964720"/>
                </a:cubicBezTo>
                <a:cubicBezTo>
                  <a:pt x="419889" y="962815"/>
                  <a:pt x="425604" y="956148"/>
                  <a:pt x="425604" y="947575"/>
                </a:cubicBezTo>
                <a:cubicBezTo>
                  <a:pt x="425604" y="937098"/>
                  <a:pt x="417031" y="929478"/>
                  <a:pt x="407506" y="929478"/>
                </a:cubicBezTo>
                <a:cubicBezTo>
                  <a:pt x="407506" y="929478"/>
                  <a:pt x="407506" y="929478"/>
                  <a:pt x="372264" y="929478"/>
                </a:cubicBezTo>
                <a:close/>
                <a:moveTo>
                  <a:pt x="371472" y="860422"/>
                </a:moveTo>
                <a:lnTo>
                  <a:pt x="371472" y="917572"/>
                </a:lnTo>
                <a:lnTo>
                  <a:pt x="419097" y="917572"/>
                </a:lnTo>
                <a:lnTo>
                  <a:pt x="419097" y="906142"/>
                </a:lnTo>
                <a:lnTo>
                  <a:pt x="383854" y="906142"/>
                </a:lnTo>
                <a:lnTo>
                  <a:pt x="383854" y="893759"/>
                </a:lnTo>
                <a:lnTo>
                  <a:pt x="417192" y="893759"/>
                </a:lnTo>
                <a:lnTo>
                  <a:pt x="417192" y="882329"/>
                </a:lnTo>
                <a:lnTo>
                  <a:pt x="383854" y="882329"/>
                </a:lnTo>
                <a:lnTo>
                  <a:pt x="383854" y="871852"/>
                </a:lnTo>
                <a:lnTo>
                  <a:pt x="419097" y="871852"/>
                </a:lnTo>
                <a:lnTo>
                  <a:pt x="419097" y="860422"/>
                </a:lnTo>
                <a:close/>
                <a:moveTo>
                  <a:pt x="251457" y="827084"/>
                </a:moveTo>
                <a:cubicBezTo>
                  <a:pt x="251457" y="827084"/>
                  <a:pt x="251457" y="827084"/>
                  <a:pt x="276222" y="827084"/>
                </a:cubicBezTo>
                <a:cubicBezTo>
                  <a:pt x="279079" y="827084"/>
                  <a:pt x="281937" y="829942"/>
                  <a:pt x="281937" y="832799"/>
                </a:cubicBezTo>
                <a:cubicBezTo>
                  <a:pt x="281937" y="836609"/>
                  <a:pt x="279079" y="838514"/>
                  <a:pt x="276222" y="838514"/>
                </a:cubicBezTo>
                <a:cubicBezTo>
                  <a:pt x="276222" y="838514"/>
                  <a:pt x="276222" y="838514"/>
                  <a:pt x="251457" y="838514"/>
                </a:cubicBezTo>
                <a:close/>
                <a:moveTo>
                  <a:pt x="337182" y="808034"/>
                </a:moveTo>
                <a:lnTo>
                  <a:pt x="346707" y="828989"/>
                </a:lnTo>
                <a:lnTo>
                  <a:pt x="327658" y="828989"/>
                </a:lnTo>
                <a:close/>
                <a:moveTo>
                  <a:pt x="518158" y="806129"/>
                </a:moveTo>
                <a:cubicBezTo>
                  <a:pt x="518158" y="806129"/>
                  <a:pt x="518158" y="806129"/>
                  <a:pt x="538160" y="806129"/>
                </a:cubicBezTo>
                <a:cubicBezTo>
                  <a:pt x="541018" y="806129"/>
                  <a:pt x="543875" y="808987"/>
                  <a:pt x="543875" y="810892"/>
                </a:cubicBezTo>
                <a:cubicBezTo>
                  <a:pt x="543875" y="814702"/>
                  <a:pt x="541018" y="816608"/>
                  <a:pt x="538160" y="816608"/>
                </a:cubicBezTo>
                <a:cubicBezTo>
                  <a:pt x="538160" y="816608"/>
                  <a:pt x="538160" y="816608"/>
                  <a:pt x="518158" y="816608"/>
                </a:cubicBezTo>
                <a:cubicBezTo>
                  <a:pt x="518158" y="816608"/>
                  <a:pt x="518158" y="816608"/>
                  <a:pt x="518158" y="806129"/>
                </a:cubicBezTo>
                <a:close/>
                <a:moveTo>
                  <a:pt x="251457" y="806129"/>
                </a:moveTo>
                <a:cubicBezTo>
                  <a:pt x="251457" y="806129"/>
                  <a:pt x="251457" y="806129"/>
                  <a:pt x="275269" y="806129"/>
                </a:cubicBezTo>
                <a:cubicBezTo>
                  <a:pt x="278127" y="806129"/>
                  <a:pt x="280032" y="808034"/>
                  <a:pt x="280032" y="810892"/>
                </a:cubicBezTo>
                <a:cubicBezTo>
                  <a:pt x="280032" y="813749"/>
                  <a:pt x="278127" y="815654"/>
                  <a:pt x="275269" y="815654"/>
                </a:cubicBezTo>
                <a:cubicBezTo>
                  <a:pt x="275269" y="815654"/>
                  <a:pt x="275269" y="815654"/>
                  <a:pt x="251457" y="815654"/>
                </a:cubicBezTo>
                <a:close/>
                <a:moveTo>
                  <a:pt x="361948" y="793748"/>
                </a:moveTo>
                <a:lnTo>
                  <a:pt x="388618" y="830895"/>
                </a:lnTo>
                <a:lnTo>
                  <a:pt x="388618" y="850898"/>
                </a:lnTo>
                <a:lnTo>
                  <a:pt x="401953" y="850898"/>
                </a:lnTo>
                <a:lnTo>
                  <a:pt x="401953" y="830895"/>
                </a:lnTo>
                <a:lnTo>
                  <a:pt x="428623" y="793748"/>
                </a:lnTo>
                <a:lnTo>
                  <a:pt x="413383" y="793748"/>
                </a:lnTo>
                <a:lnTo>
                  <a:pt x="394333" y="819465"/>
                </a:lnTo>
                <a:lnTo>
                  <a:pt x="377188" y="793748"/>
                </a:lnTo>
                <a:close/>
                <a:moveTo>
                  <a:pt x="438148" y="793748"/>
                </a:moveTo>
                <a:lnTo>
                  <a:pt x="438148" y="850898"/>
                </a:lnTo>
                <a:lnTo>
                  <a:pt x="495298" y="850898"/>
                </a:lnTo>
                <a:lnTo>
                  <a:pt x="495298" y="839468"/>
                </a:lnTo>
                <a:lnTo>
                  <a:pt x="452435" y="839468"/>
                </a:lnTo>
                <a:lnTo>
                  <a:pt x="452435" y="828038"/>
                </a:lnTo>
                <a:lnTo>
                  <a:pt x="493393" y="828038"/>
                </a:lnTo>
                <a:lnTo>
                  <a:pt x="493393" y="816608"/>
                </a:lnTo>
                <a:lnTo>
                  <a:pt x="452435" y="816608"/>
                </a:lnTo>
                <a:lnTo>
                  <a:pt x="452435" y="807083"/>
                </a:lnTo>
                <a:lnTo>
                  <a:pt x="495298" y="807083"/>
                </a:lnTo>
                <a:lnTo>
                  <a:pt x="495298" y="793748"/>
                </a:lnTo>
                <a:close/>
                <a:moveTo>
                  <a:pt x="504823" y="793747"/>
                </a:moveTo>
                <a:cubicBezTo>
                  <a:pt x="504823" y="793747"/>
                  <a:pt x="504823" y="793747"/>
                  <a:pt x="504823" y="850897"/>
                </a:cubicBezTo>
                <a:cubicBezTo>
                  <a:pt x="504823" y="850897"/>
                  <a:pt x="504823" y="850897"/>
                  <a:pt x="518158" y="850897"/>
                </a:cubicBezTo>
                <a:cubicBezTo>
                  <a:pt x="518158" y="850897"/>
                  <a:pt x="518158" y="850897"/>
                  <a:pt x="518158" y="828989"/>
                </a:cubicBezTo>
                <a:cubicBezTo>
                  <a:pt x="518158" y="828989"/>
                  <a:pt x="518158" y="828989"/>
                  <a:pt x="528635" y="828989"/>
                </a:cubicBezTo>
                <a:lnTo>
                  <a:pt x="545780" y="850897"/>
                </a:lnTo>
                <a:cubicBezTo>
                  <a:pt x="545780" y="850897"/>
                  <a:pt x="545780" y="850897"/>
                  <a:pt x="561973" y="850897"/>
                </a:cubicBezTo>
                <a:cubicBezTo>
                  <a:pt x="561973" y="850897"/>
                  <a:pt x="561973" y="850897"/>
                  <a:pt x="545780" y="828989"/>
                </a:cubicBezTo>
                <a:cubicBezTo>
                  <a:pt x="552448" y="827084"/>
                  <a:pt x="558163" y="820417"/>
                  <a:pt x="558163" y="811844"/>
                </a:cubicBezTo>
                <a:cubicBezTo>
                  <a:pt x="558163" y="801368"/>
                  <a:pt x="549590" y="793747"/>
                  <a:pt x="540065" y="793747"/>
                </a:cubicBezTo>
                <a:cubicBezTo>
                  <a:pt x="540065" y="793747"/>
                  <a:pt x="540065" y="793747"/>
                  <a:pt x="504823" y="793747"/>
                </a:cubicBezTo>
                <a:close/>
                <a:moveTo>
                  <a:pt x="331468" y="793747"/>
                </a:moveTo>
                <a:lnTo>
                  <a:pt x="304798" y="850897"/>
                </a:lnTo>
                <a:lnTo>
                  <a:pt x="319084" y="850897"/>
                </a:lnTo>
                <a:lnTo>
                  <a:pt x="321943" y="841372"/>
                </a:lnTo>
                <a:lnTo>
                  <a:pt x="352422" y="841372"/>
                </a:lnTo>
                <a:lnTo>
                  <a:pt x="357184" y="850897"/>
                </a:lnTo>
                <a:lnTo>
                  <a:pt x="371472" y="850897"/>
                </a:lnTo>
                <a:lnTo>
                  <a:pt x="343849" y="793747"/>
                </a:lnTo>
                <a:close/>
                <a:moveTo>
                  <a:pt x="238122" y="793747"/>
                </a:moveTo>
                <a:cubicBezTo>
                  <a:pt x="238122" y="793747"/>
                  <a:pt x="238122" y="793747"/>
                  <a:pt x="238122" y="850897"/>
                </a:cubicBezTo>
                <a:cubicBezTo>
                  <a:pt x="238122" y="850897"/>
                  <a:pt x="238122" y="850897"/>
                  <a:pt x="278127" y="850897"/>
                </a:cubicBezTo>
                <a:cubicBezTo>
                  <a:pt x="287652" y="850897"/>
                  <a:pt x="295272" y="843277"/>
                  <a:pt x="295272" y="833752"/>
                </a:cubicBezTo>
                <a:cubicBezTo>
                  <a:pt x="295272" y="828989"/>
                  <a:pt x="293367" y="824227"/>
                  <a:pt x="289557" y="821369"/>
                </a:cubicBezTo>
                <a:cubicBezTo>
                  <a:pt x="292414" y="818512"/>
                  <a:pt x="293367" y="814702"/>
                  <a:pt x="293367" y="810892"/>
                </a:cubicBezTo>
                <a:cubicBezTo>
                  <a:pt x="293367" y="801367"/>
                  <a:pt x="286699" y="793747"/>
                  <a:pt x="277174" y="793747"/>
                </a:cubicBezTo>
                <a:cubicBezTo>
                  <a:pt x="277174" y="793747"/>
                  <a:pt x="277174" y="793747"/>
                  <a:pt x="238122" y="793747"/>
                </a:cubicBezTo>
                <a:close/>
                <a:moveTo>
                  <a:pt x="394333" y="741360"/>
                </a:moveTo>
                <a:lnTo>
                  <a:pt x="404810" y="762315"/>
                </a:lnTo>
                <a:lnTo>
                  <a:pt x="384808" y="762315"/>
                </a:lnTo>
                <a:close/>
                <a:moveTo>
                  <a:pt x="388618" y="727073"/>
                </a:moveTo>
                <a:lnTo>
                  <a:pt x="361948" y="784223"/>
                </a:lnTo>
                <a:lnTo>
                  <a:pt x="375283" y="784223"/>
                </a:lnTo>
                <a:lnTo>
                  <a:pt x="380045" y="774698"/>
                </a:lnTo>
                <a:lnTo>
                  <a:pt x="409573" y="774698"/>
                </a:lnTo>
                <a:lnTo>
                  <a:pt x="414335" y="784223"/>
                </a:lnTo>
                <a:lnTo>
                  <a:pt x="428623" y="784223"/>
                </a:lnTo>
                <a:lnTo>
                  <a:pt x="401000" y="727073"/>
                </a:lnTo>
                <a:close/>
                <a:moveTo>
                  <a:pt x="384808" y="693735"/>
                </a:moveTo>
                <a:cubicBezTo>
                  <a:pt x="384808" y="693735"/>
                  <a:pt x="384808" y="693735"/>
                  <a:pt x="409573" y="693735"/>
                </a:cubicBezTo>
                <a:cubicBezTo>
                  <a:pt x="412430" y="693735"/>
                  <a:pt x="415288" y="696593"/>
                  <a:pt x="415288" y="699450"/>
                </a:cubicBezTo>
                <a:cubicBezTo>
                  <a:pt x="415288" y="703260"/>
                  <a:pt x="412430" y="705165"/>
                  <a:pt x="409573" y="705165"/>
                </a:cubicBezTo>
                <a:cubicBezTo>
                  <a:pt x="409573" y="705165"/>
                  <a:pt x="409573" y="705165"/>
                  <a:pt x="384808" y="705165"/>
                </a:cubicBezTo>
                <a:close/>
                <a:moveTo>
                  <a:pt x="384808" y="672780"/>
                </a:moveTo>
                <a:cubicBezTo>
                  <a:pt x="384808" y="672780"/>
                  <a:pt x="384808" y="672780"/>
                  <a:pt x="408620" y="672780"/>
                </a:cubicBezTo>
                <a:cubicBezTo>
                  <a:pt x="411478" y="672780"/>
                  <a:pt x="413383" y="674685"/>
                  <a:pt x="413383" y="677543"/>
                </a:cubicBezTo>
                <a:cubicBezTo>
                  <a:pt x="413383" y="680400"/>
                  <a:pt x="411478" y="682305"/>
                  <a:pt x="408620" y="682305"/>
                </a:cubicBezTo>
                <a:cubicBezTo>
                  <a:pt x="408620" y="682305"/>
                  <a:pt x="408620" y="682305"/>
                  <a:pt x="384808" y="682305"/>
                </a:cubicBezTo>
                <a:close/>
                <a:moveTo>
                  <a:pt x="371473" y="660398"/>
                </a:moveTo>
                <a:cubicBezTo>
                  <a:pt x="371473" y="660398"/>
                  <a:pt x="371473" y="660398"/>
                  <a:pt x="371473" y="717548"/>
                </a:cubicBezTo>
                <a:cubicBezTo>
                  <a:pt x="371473" y="717548"/>
                  <a:pt x="371473" y="717548"/>
                  <a:pt x="411478" y="717548"/>
                </a:cubicBezTo>
                <a:cubicBezTo>
                  <a:pt x="421003" y="717548"/>
                  <a:pt x="428623" y="709928"/>
                  <a:pt x="428623" y="700403"/>
                </a:cubicBezTo>
                <a:cubicBezTo>
                  <a:pt x="428623" y="695640"/>
                  <a:pt x="426718" y="690878"/>
                  <a:pt x="422908" y="688020"/>
                </a:cubicBezTo>
                <a:cubicBezTo>
                  <a:pt x="425765" y="685163"/>
                  <a:pt x="427670" y="681353"/>
                  <a:pt x="427670" y="676590"/>
                </a:cubicBezTo>
                <a:cubicBezTo>
                  <a:pt x="427670" y="668018"/>
                  <a:pt x="420050" y="660398"/>
                  <a:pt x="410525" y="660398"/>
                </a:cubicBezTo>
                <a:cubicBezTo>
                  <a:pt x="410525" y="660398"/>
                  <a:pt x="410525" y="660398"/>
                  <a:pt x="371473" y="660398"/>
                </a:cubicBezTo>
                <a:close/>
                <a:moveTo>
                  <a:pt x="400049" y="644683"/>
                </a:moveTo>
                <a:cubicBezTo>
                  <a:pt x="500061" y="644683"/>
                  <a:pt x="575309" y="721835"/>
                  <a:pt x="575309" y="822800"/>
                </a:cubicBezTo>
                <a:cubicBezTo>
                  <a:pt x="575309" y="922813"/>
                  <a:pt x="500061" y="996155"/>
                  <a:pt x="400049" y="996155"/>
                </a:cubicBezTo>
                <a:cubicBezTo>
                  <a:pt x="300036" y="996155"/>
                  <a:pt x="224789" y="919955"/>
                  <a:pt x="224789" y="819943"/>
                </a:cubicBezTo>
                <a:cubicBezTo>
                  <a:pt x="224789" y="719930"/>
                  <a:pt x="300036" y="644683"/>
                  <a:pt x="400049" y="644683"/>
                </a:cubicBezTo>
                <a:close/>
                <a:moveTo>
                  <a:pt x="400049" y="619918"/>
                </a:moveTo>
                <a:cubicBezTo>
                  <a:pt x="289559" y="619918"/>
                  <a:pt x="200024" y="709453"/>
                  <a:pt x="200024" y="819943"/>
                </a:cubicBezTo>
                <a:cubicBezTo>
                  <a:pt x="200024" y="930433"/>
                  <a:pt x="289559" y="1019968"/>
                  <a:pt x="400049" y="1019968"/>
                </a:cubicBezTo>
                <a:cubicBezTo>
                  <a:pt x="510539" y="1019968"/>
                  <a:pt x="600074" y="930433"/>
                  <a:pt x="600074" y="819943"/>
                </a:cubicBezTo>
                <a:cubicBezTo>
                  <a:pt x="600074" y="709453"/>
                  <a:pt x="510539" y="619918"/>
                  <a:pt x="400049" y="619918"/>
                </a:cubicBezTo>
                <a:close/>
                <a:moveTo>
                  <a:pt x="6285641" y="0"/>
                </a:moveTo>
                <a:lnTo>
                  <a:pt x="8114398" y="0"/>
                </a:lnTo>
                <a:lnTo>
                  <a:pt x="8114398" y="6857998"/>
                </a:lnTo>
                <a:lnTo>
                  <a:pt x="3780054" y="6857998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2F8C671-FCED-47EE-98C9-6A63338A68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337080" y="0"/>
            <a:ext cx="7854920" cy="6858000"/>
          </a:xfrm>
          <a:custGeom>
            <a:avLst/>
            <a:gdLst>
              <a:gd name="connsiteX0" fmla="*/ 1945592 w 7853898"/>
              <a:gd name="connsiteY0" fmla="*/ 0 h 6858000"/>
              <a:gd name="connsiteX1" fmla="*/ 3777198 w 7853898"/>
              <a:gd name="connsiteY1" fmla="*/ 0 h 6858000"/>
              <a:gd name="connsiteX2" fmla="*/ 4658260 w 7853898"/>
              <a:gd name="connsiteY2" fmla="*/ 0 h 6858000"/>
              <a:gd name="connsiteX3" fmla="*/ 7853898 w 7853898"/>
              <a:gd name="connsiteY3" fmla="*/ 0 h 6858000"/>
              <a:gd name="connsiteX4" fmla="*/ 7853898 w 7853898"/>
              <a:gd name="connsiteY4" fmla="*/ 6858000 h 6858000"/>
              <a:gd name="connsiteX5" fmla="*/ 4658260 w 7853898"/>
              <a:gd name="connsiteY5" fmla="*/ 6858000 h 6858000"/>
              <a:gd name="connsiteX6" fmla="*/ 3777198 w 7853898"/>
              <a:gd name="connsiteY6" fmla="*/ 6858000 h 6858000"/>
              <a:gd name="connsiteX7" fmla="*/ 1327085 w 7853898"/>
              <a:gd name="connsiteY7" fmla="*/ 6858000 h 6858000"/>
              <a:gd name="connsiteX8" fmla="*/ 0 w 7853898"/>
              <a:gd name="connsiteY8" fmla="*/ 6858000 h 6858000"/>
              <a:gd name="connsiteX9" fmla="*/ 631152 w 7853898"/>
              <a:gd name="connsiteY9" fmla="*/ 3597203 h 6858000"/>
              <a:gd name="connsiteX10" fmla="*/ 1327085 w 7853898"/>
              <a:gd name="connsiteY10" fmla="*/ 0 h 6858000"/>
              <a:gd name="connsiteX11" fmla="*/ 1926428 w 7853898"/>
              <a:gd name="connsiteY11" fmla="*/ 0 h 6858000"/>
              <a:gd name="connsiteX12" fmla="*/ 652736 w 7853898"/>
              <a:gd name="connsiteY12" fmla="*/ 3485687 h 6858000"/>
              <a:gd name="connsiteX13" fmla="*/ 1327085 w 7853898"/>
              <a:gd name="connsiteY13" fmla="*/ 1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853898" h="6858000">
                <a:moveTo>
                  <a:pt x="1945592" y="0"/>
                </a:moveTo>
                <a:lnTo>
                  <a:pt x="3777198" y="0"/>
                </a:lnTo>
                <a:lnTo>
                  <a:pt x="4658260" y="0"/>
                </a:lnTo>
                <a:lnTo>
                  <a:pt x="7853898" y="0"/>
                </a:lnTo>
                <a:lnTo>
                  <a:pt x="7853898" y="6858000"/>
                </a:lnTo>
                <a:lnTo>
                  <a:pt x="4658260" y="6858000"/>
                </a:lnTo>
                <a:lnTo>
                  <a:pt x="3777198" y="6858000"/>
                </a:lnTo>
                <a:lnTo>
                  <a:pt x="1327085" y="6858000"/>
                </a:lnTo>
                <a:lnTo>
                  <a:pt x="0" y="6858000"/>
                </a:lnTo>
                <a:lnTo>
                  <a:pt x="631152" y="3597203"/>
                </a:lnTo>
                <a:close/>
                <a:moveTo>
                  <a:pt x="1327085" y="0"/>
                </a:moveTo>
                <a:lnTo>
                  <a:pt x="1926428" y="0"/>
                </a:lnTo>
                <a:lnTo>
                  <a:pt x="652736" y="3485687"/>
                </a:lnTo>
                <a:lnTo>
                  <a:pt x="1327085" y="1712"/>
                </a:lnTo>
                <a:close/>
              </a:path>
            </a:pathLst>
          </a:custGeom>
          <a:gradFill>
            <a:gsLst>
              <a:gs pos="0">
                <a:srgbClr val="443247"/>
              </a:gs>
              <a:gs pos="54000">
                <a:srgbClr val="443247"/>
              </a:gs>
              <a:gs pos="100000">
                <a:srgbClr val="443247">
                  <a:alpha val="90000"/>
                </a:srgbClr>
              </a:gs>
            </a:gsLst>
            <a:lin ang="10800000" scaled="0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blackGray">
          <a:xfrm flipV="1">
            <a:off x="3768346" y="0"/>
            <a:ext cx="2507333" cy="68580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AC5DFCB7-86C0-425A-81FA-BEF2309EB834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1467912-1545-4993-9077-17D9670FB8B9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2B4303-08B3-4093-B75A-28E14949D5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81948" y="1138298"/>
            <a:ext cx="5222810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13EF898-0A1F-40A1-B561-71B65BA89D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Gray">
          <a:xfrm>
            <a:off x="6560457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75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1A406-9538-49C3-8EE8-2A8828D36F07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0714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8">
            <a:extLst>
              <a:ext uri="{FF2B5EF4-FFF2-40B4-BE49-F238E27FC236}">
                <a16:creationId xmlns:a16="http://schemas.microsoft.com/office/drawing/2014/main" id="{98419BE6-743D-4D44-8ED2-03F8A534FA0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blackGray">
          <a:xfrm>
            <a:off x="3" y="3"/>
            <a:ext cx="8115454" cy="6857998"/>
          </a:xfrm>
          <a:custGeom>
            <a:avLst/>
            <a:gdLst>
              <a:gd name="connsiteX0" fmla="*/ 385599 w 8114398"/>
              <a:gd name="connsiteY0" fmla="*/ 941860 h 6857998"/>
              <a:gd name="connsiteX1" fmla="*/ 405601 w 8114398"/>
              <a:gd name="connsiteY1" fmla="*/ 941860 h 6857998"/>
              <a:gd name="connsiteX2" fmla="*/ 411316 w 8114398"/>
              <a:gd name="connsiteY2" fmla="*/ 946623 h 6857998"/>
              <a:gd name="connsiteX3" fmla="*/ 405601 w 8114398"/>
              <a:gd name="connsiteY3" fmla="*/ 952338 h 6857998"/>
              <a:gd name="connsiteX4" fmla="*/ 385599 w 8114398"/>
              <a:gd name="connsiteY4" fmla="*/ 952338 h 6857998"/>
              <a:gd name="connsiteX5" fmla="*/ 385599 w 8114398"/>
              <a:gd name="connsiteY5" fmla="*/ 941860 h 6857998"/>
              <a:gd name="connsiteX6" fmla="*/ 372264 w 8114398"/>
              <a:gd name="connsiteY6" fmla="*/ 929478 h 6857998"/>
              <a:gd name="connsiteX7" fmla="*/ 372264 w 8114398"/>
              <a:gd name="connsiteY7" fmla="*/ 986628 h 6857998"/>
              <a:gd name="connsiteX8" fmla="*/ 385599 w 8114398"/>
              <a:gd name="connsiteY8" fmla="*/ 986628 h 6857998"/>
              <a:gd name="connsiteX9" fmla="*/ 385599 w 8114398"/>
              <a:gd name="connsiteY9" fmla="*/ 964720 h 6857998"/>
              <a:gd name="connsiteX10" fmla="*/ 396076 w 8114398"/>
              <a:gd name="connsiteY10" fmla="*/ 964720 h 6857998"/>
              <a:gd name="connsiteX11" fmla="*/ 413221 w 8114398"/>
              <a:gd name="connsiteY11" fmla="*/ 986628 h 6857998"/>
              <a:gd name="connsiteX12" fmla="*/ 429414 w 8114398"/>
              <a:gd name="connsiteY12" fmla="*/ 986628 h 6857998"/>
              <a:gd name="connsiteX13" fmla="*/ 413221 w 8114398"/>
              <a:gd name="connsiteY13" fmla="*/ 964720 h 6857998"/>
              <a:gd name="connsiteX14" fmla="*/ 425604 w 8114398"/>
              <a:gd name="connsiteY14" fmla="*/ 947575 h 6857998"/>
              <a:gd name="connsiteX15" fmla="*/ 407506 w 8114398"/>
              <a:gd name="connsiteY15" fmla="*/ 929478 h 6857998"/>
              <a:gd name="connsiteX16" fmla="*/ 372264 w 8114398"/>
              <a:gd name="connsiteY16" fmla="*/ 929478 h 6857998"/>
              <a:gd name="connsiteX17" fmla="*/ 371472 w 8114398"/>
              <a:gd name="connsiteY17" fmla="*/ 860422 h 6857998"/>
              <a:gd name="connsiteX18" fmla="*/ 371472 w 8114398"/>
              <a:gd name="connsiteY18" fmla="*/ 917572 h 6857998"/>
              <a:gd name="connsiteX19" fmla="*/ 419097 w 8114398"/>
              <a:gd name="connsiteY19" fmla="*/ 917572 h 6857998"/>
              <a:gd name="connsiteX20" fmla="*/ 419097 w 8114398"/>
              <a:gd name="connsiteY20" fmla="*/ 906142 h 6857998"/>
              <a:gd name="connsiteX21" fmla="*/ 383854 w 8114398"/>
              <a:gd name="connsiteY21" fmla="*/ 906142 h 6857998"/>
              <a:gd name="connsiteX22" fmla="*/ 383854 w 8114398"/>
              <a:gd name="connsiteY22" fmla="*/ 893759 h 6857998"/>
              <a:gd name="connsiteX23" fmla="*/ 417192 w 8114398"/>
              <a:gd name="connsiteY23" fmla="*/ 893759 h 6857998"/>
              <a:gd name="connsiteX24" fmla="*/ 417192 w 8114398"/>
              <a:gd name="connsiteY24" fmla="*/ 882329 h 6857998"/>
              <a:gd name="connsiteX25" fmla="*/ 383854 w 8114398"/>
              <a:gd name="connsiteY25" fmla="*/ 882329 h 6857998"/>
              <a:gd name="connsiteX26" fmla="*/ 383854 w 8114398"/>
              <a:gd name="connsiteY26" fmla="*/ 871852 h 6857998"/>
              <a:gd name="connsiteX27" fmla="*/ 419097 w 8114398"/>
              <a:gd name="connsiteY27" fmla="*/ 871852 h 6857998"/>
              <a:gd name="connsiteX28" fmla="*/ 419097 w 8114398"/>
              <a:gd name="connsiteY28" fmla="*/ 860422 h 6857998"/>
              <a:gd name="connsiteX29" fmla="*/ 251457 w 8114398"/>
              <a:gd name="connsiteY29" fmla="*/ 827084 h 6857998"/>
              <a:gd name="connsiteX30" fmla="*/ 276222 w 8114398"/>
              <a:gd name="connsiteY30" fmla="*/ 827084 h 6857998"/>
              <a:gd name="connsiteX31" fmla="*/ 281937 w 8114398"/>
              <a:gd name="connsiteY31" fmla="*/ 832799 h 6857998"/>
              <a:gd name="connsiteX32" fmla="*/ 276222 w 8114398"/>
              <a:gd name="connsiteY32" fmla="*/ 838514 h 6857998"/>
              <a:gd name="connsiteX33" fmla="*/ 251457 w 8114398"/>
              <a:gd name="connsiteY33" fmla="*/ 838514 h 6857998"/>
              <a:gd name="connsiteX34" fmla="*/ 337182 w 8114398"/>
              <a:gd name="connsiteY34" fmla="*/ 808034 h 6857998"/>
              <a:gd name="connsiteX35" fmla="*/ 346707 w 8114398"/>
              <a:gd name="connsiteY35" fmla="*/ 828989 h 6857998"/>
              <a:gd name="connsiteX36" fmla="*/ 327658 w 8114398"/>
              <a:gd name="connsiteY36" fmla="*/ 828989 h 6857998"/>
              <a:gd name="connsiteX37" fmla="*/ 518158 w 8114398"/>
              <a:gd name="connsiteY37" fmla="*/ 806129 h 6857998"/>
              <a:gd name="connsiteX38" fmla="*/ 538160 w 8114398"/>
              <a:gd name="connsiteY38" fmla="*/ 806129 h 6857998"/>
              <a:gd name="connsiteX39" fmla="*/ 543875 w 8114398"/>
              <a:gd name="connsiteY39" fmla="*/ 810892 h 6857998"/>
              <a:gd name="connsiteX40" fmla="*/ 538160 w 8114398"/>
              <a:gd name="connsiteY40" fmla="*/ 816608 h 6857998"/>
              <a:gd name="connsiteX41" fmla="*/ 518158 w 8114398"/>
              <a:gd name="connsiteY41" fmla="*/ 816608 h 6857998"/>
              <a:gd name="connsiteX42" fmla="*/ 518158 w 8114398"/>
              <a:gd name="connsiteY42" fmla="*/ 806129 h 6857998"/>
              <a:gd name="connsiteX43" fmla="*/ 251457 w 8114398"/>
              <a:gd name="connsiteY43" fmla="*/ 806129 h 6857998"/>
              <a:gd name="connsiteX44" fmla="*/ 275269 w 8114398"/>
              <a:gd name="connsiteY44" fmla="*/ 806129 h 6857998"/>
              <a:gd name="connsiteX45" fmla="*/ 280032 w 8114398"/>
              <a:gd name="connsiteY45" fmla="*/ 810892 h 6857998"/>
              <a:gd name="connsiteX46" fmla="*/ 275269 w 8114398"/>
              <a:gd name="connsiteY46" fmla="*/ 815654 h 6857998"/>
              <a:gd name="connsiteX47" fmla="*/ 251457 w 8114398"/>
              <a:gd name="connsiteY47" fmla="*/ 815654 h 6857998"/>
              <a:gd name="connsiteX48" fmla="*/ 361948 w 8114398"/>
              <a:gd name="connsiteY48" fmla="*/ 793748 h 6857998"/>
              <a:gd name="connsiteX49" fmla="*/ 388618 w 8114398"/>
              <a:gd name="connsiteY49" fmla="*/ 830895 h 6857998"/>
              <a:gd name="connsiteX50" fmla="*/ 388618 w 8114398"/>
              <a:gd name="connsiteY50" fmla="*/ 850898 h 6857998"/>
              <a:gd name="connsiteX51" fmla="*/ 401953 w 8114398"/>
              <a:gd name="connsiteY51" fmla="*/ 850898 h 6857998"/>
              <a:gd name="connsiteX52" fmla="*/ 401953 w 8114398"/>
              <a:gd name="connsiteY52" fmla="*/ 830895 h 6857998"/>
              <a:gd name="connsiteX53" fmla="*/ 428623 w 8114398"/>
              <a:gd name="connsiteY53" fmla="*/ 793748 h 6857998"/>
              <a:gd name="connsiteX54" fmla="*/ 413383 w 8114398"/>
              <a:gd name="connsiteY54" fmla="*/ 793748 h 6857998"/>
              <a:gd name="connsiteX55" fmla="*/ 394333 w 8114398"/>
              <a:gd name="connsiteY55" fmla="*/ 819465 h 6857998"/>
              <a:gd name="connsiteX56" fmla="*/ 377188 w 8114398"/>
              <a:gd name="connsiteY56" fmla="*/ 793748 h 6857998"/>
              <a:gd name="connsiteX57" fmla="*/ 438148 w 8114398"/>
              <a:gd name="connsiteY57" fmla="*/ 793748 h 6857998"/>
              <a:gd name="connsiteX58" fmla="*/ 438148 w 8114398"/>
              <a:gd name="connsiteY58" fmla="*/ 850898 h 6857998"/>
              <a:gd name="connsiteX59" fmla="*/ 495298 w 8114398"/>
              <a:gd name="connsiteY59" fmla="*/ 850898 h 6857998"/>
              <a:gd name="connsiteX60" fmla="*/ 495298 w 8114398"/>
              <a:gd name="connsiteY60" fmla="*/ 839468 h 6857998"/>
              <a:gd name="connsiteX61" fmla="*/ 452435 w 8114398"/>
              <a:gd name="connsiteY61" fmla="*/ 839468 h 6857998"/>
              <a:gd name="connsiteX62" fmla="*/ 452435 w 8114398"/>
              <a:gd name="connsiteY62" fmla="*/ 828038 h 6857998"/>
              <a:gd name="connsiteX63" fmla="*/ 493393 w 8114398"/>
              <a:gd name="connsiteY63" fmla="*/ 828038 h 6857998"/>
              <a:gd name="connsiteX64" fmla="*/ 493393 w 8114398"/>
              <a:gd name="connsiteY64" fmla="*/ 816608 h 6857998"/>
              <a:gd name="connsiteX65" fmla="*/ 452435 w 8114398"/>
              <a:gd name="connsiteY65" fmla="*/ 816608 h 6857998"/>
              <a:gd name="connsiteX66" fmla="*/ 452435 w 8114398"/>
              <a:gd name="connsiteY66" fmla="*/ 807083 h 6857998"/>
              <a:gd name="connsiteX67" fmla="*/ 495298 w 8114398"/>
              <a:gd name="connsiteY67" fmla="*/ 807083 h 6857998"/>
              <a:gd name="connsiteX68" fmla="*/ 495298 w 8114398"/>
              <a:gd name="connsiteY68" fmla="*/ 793748 h 6857998"/>
              <a:gd name="connsiteX69" fmla="*/ 504823 w 8114398"/>
              <a:gd name="connsiteY69" fmla="*/ 793747 h 6857998"/>
              <a:gd name="connsiteX70" fmla="*/ 504823 w 8114398"/>
              <a:gd name="connsiteY70" fmla="*/ 850897 h 6857998"/>
              <a:gd name="connsiteX71" fmla="*/ 518158 w 8114398"/>
              <a:gd name="connsiteY71" fmla="*/ 850897 h 6857998"/>
              <a:gd name="connsiteX72" fmla="*/ 518158 w 8114398"/>
              <a:gd name="connsiteY72" fmla="*/ 828989 h 6857998"/>
              <a:gd name="connsiteX73" fmla="*/ 528635 w 8114398"/>
              <a:gd name="connsiteY73" fmla="*/ 828989 h 6857998"/>
              <a:gd name="connsiteX74" fmla="*/ 545780 w 8114398"/>
              <a:gd name="connsiteY74" fmla="*/ 850897 h 6857998"/>
              <a:gd name="connsiteX75" fmla="*/ 561973 w 8114398"/>
              <a:gd name="connsiteY75" fmla="*/ 850897 h 6857998"/>
              <a:gd name="connsiteX76" fmla="*/ 545780 w 8114398"/>
              <a:gd name="connsiteY76" fmla="*/ 828989 h 6857998"/>
              <a:gd name="connsiteX77" fmla="*/ 558163 w 8114398"/>
              <a:gd name="connsiteY77" fmla="*/ 811844 h 6857998"/>
              <a:gd name="connsiteX78" fmla="*/ 540065 w 8114398"/>
              <a:gd name="connsiteY78" fmla="*/ 793747 h 6857998"/>
              <a:gd name="connsiteX79" fmla="*/ 504823 w 8114398"/>
              <a:gd name="connsiteY79" fmla="*/ 793747 h 6857998"/>
              <a:gd name="connsiteX80" fmla="*/ 331468 w 8114398"/>
              <a:gd name="connsiteY80" fmla="*/ 793747 h 6857998"/>
              <a:gd name="connsiteX81" fmla="*/ 304798 w 8114398"/>
              <a:gd name="connsiteY81" fmla="*/ 850897 h 6857998"/>
              <a:gd name="connsiteX82" fmla="*/ 319084 w 8114398"/>
              <a:gd name="connsiteY82" fmla="*/ 850897 h 6857998"/>
              <a:gd name="connsiteX83" fmla="*/ 321943 w 8114398"/>
              <a:gd name="connsiteY83" fmla="*/ 841372 h 6857998"/>
              <a:gd name="connsiteX84" fmla="*/ 352422 w 8114398"/>
              <a:gd name="connsiteY84" fmla="*/ 841372 h 6857998"/>
              <a:gd name="connsiteX85" fmla="*/ 357184 w 8114398"/>
              <a:gd name="connsiteY85" fmla="*/ 850897 h 6857998"/>
              <a:gd name="connsiteX86" fmla="*/ 371472 w 8114398"/>
              <a:gd name="connsiteY86" fmla="*/ 850897 h 6857998"/>
              <a:gd name="connsiteX87" fmla="*/ 343849 w 8114398"/>
              <a:gd name="connsiteY87" fmla="*/ 793747 h 6857998"/>
              <a:gd name="connsiteX88" fmla="*/ 238122 w 8114398"/>
              <a:gd name="connsiteY88" fmla="*/ 793747 h 6857998"/>
              <a:gd name="connsiteX89" fmla="*/ 238122 w 8114398"/>
              <a:gd name="connsiteY89" fmla="*/ 850897 h 6857998"/>
              <a:gd name="connsiteX90" fmla="*/ 278127 w 8114398"/>
              <a:gd name="connsiteY90" fmla="*/ 850897 h 6857998"/>
              <a:gd name="connsiteX91" fmla="*/ 295272 w 8114398"/>
              <a:gd name="connsiteY91" fmla="*/ 833752 h 6857998"/>
              <a:gd name="connsiteX92" fmla="*/ 289557 w 8114398"/>
              <a:gd name="connsiteY92" fmla="*/ 821369 h 6857998"/>
              <a:gd name="connsiteX93" fmla="*/ 293367 w 8114398"/>
              <a:gd name="connsiteY93" fmla="*/ 810892 h 6857998"/>
              <a:gd name="connsiteX94" fmla="*/ 277174 w 8114398"/>
              <a:gd name="connsiteY94" fmla="*/ 793747 h 6857998"/>
              <a:gd name="connsiteX95" fmla="*/ 238122 w 8114398"/>
              <a:gd name="connsiteY95" fmla="*/ 793747 h 6857998"/>
              <a:gd name="connsiteX96" fmla="*/ 394333 w 8114398"/>
              <a:gd name="connsiteY96" fmla="*/ 741360 h 6857998"/>
              <a:gd name="connsiteX97" fmla="*/ 404810 w 8114398"/>
              <a:gd name="connsiteY97" fmla="*/ 762315 h 6857998"/>
              <a:gd name="connsiteX98" fmla="*/ 384808 w 8114398"/>
              <a:gd name="connsiteY98" fmla="*/ 762315 h 6857998"/>
              <a:gd name="connsiteX99" fmla="*/ 388618 w 8114398"/>
              <a:gd name="connsiteY99" fmla="*/ 727073 h 6857998"/>
              <a:gd name="connsiteX100" fmla="*/ 361948 w 8114398"/>
              <a:gd name="connsiteY100" fmla="*/ 784223 h 6857998"/>
              <a:gd name="connsiteX101" fmla="*/ 375283 w 8114398"/>
              <a:gd name="connsiteY101" fmla="*/ 784223 h 6857998"/>
              <a:gd name="connsiteX102" fmla="*/ 380045 w 8114398"/>
              <a:gd name="connsiteY102" fmla="*/ 774698 h 6857998"/>
              <a:gd name="connsiteX103" fmla="*/ 409573 w 8114398"/>
              <a:gd name="connsiteY103" fmla="*/ 774698 h 6857998"/>
              <a:gd name="connsiteX104" fmla="*/ 414335 w 8114398"/>
              <a:gd name="connsiteY104" fmla="*/ 784223 h 6857998"/>
              <a:gd name="connsiteX105" fmla="*/ 428623 w 8114398"/>
              <a:gd name="connsiteY105" fmla="*/ 784223 h 6857998"/>
              <a:gd name="connsiteX106" fmla="*/ 401000 w 8114398"/>
              <a:gd name="connsiteY106" fmla="*/ 727073 h 6857998"/>
              <a:gd name="connsiteX107" fmla="*/ 384808 w 8114398"/>
              <a:gd name="connsiteY107" fmla="*/ 693735 h 6857998"/>
              <a:gd name="connsiteX108" fmla="*/ 409573 w 8114398"/>
              <a:gd name="connsiteY108" fmla="*/ 693735 h 6857998"/>
              <a:gd name="connsiteX109" fmla="*/ 415288 w 8114398"/>
              <a:gd name="connsiteY109" fmla="*/ 699450 h 6857998"/>
              <a:gd name="connsiteX110" fmla="*/ 409573 w 8114398"/>
              <a:gd name="connsiteY110" fmla="*/ 705165 h 6857998"/>
              <a:gd name="connsiteX111" fmla="*/ 384808 w 8114398"/>
              <a:gd name="connsiteY111" fmla="*/ 705165 h 6857998"/>
              <a:gd name="connsiteX112" fmla="*/ 384808 w 8114398"/>
              <a:gd name="connsiteY112" fmla="*/ 672780 h 6857998"/>
              <a:gd name="connsiteX113" fmla="*/ 408620 w 8114398"/>
              <a:gd name="connsiteY113" fmla="*/ 672780 h 6857998"/>
              <a:gd name="connsiteX114" fmla="*/ 413383 w 8114398"/>
              <a:gd name="connsiteY114" fmla="*/ 677543 h 6857998"/>
              <a:gd name="connsiteX115" fmla="*/ 408620 w 8114398"/>
              <a:gd name="connsiteY115" fmla="*/ 682305 h 6857998"/>
              <a:gd name="connsiteX116" fmla="*/ 384808 w 8114398"/>
              <a:gd name="connsiteY116" fmla="*/ 682305 h 6857998"/>
              <a:gd name="connsiteX117" fmla="*/ 371473 w 8114398"/>
              <a:gd name="connsiteY117" fmla="*/ 660398 h 6857998"/>
              <a:gd name="connsiteX118" fmla="*/ 371473 w 8114398"/>
              <a:gd name="connsiteY118" fmla="*/ 717548 h 6857998"/>
              <a:gd name="connsiteX119" fmla="*/ 411478 w 8114398"/>
              <a:gd name="connsiteY119" fmla="*/ 717548 h 6857998"/>
              <a:gd name="connsiteX120" fmla="*/ 428623 w 8114398"/>
              <a:gd name="connsiteY120" fmla="*/ 700403 h 6857998"/>
              <a:gd name="connsiteX121" fmla="*/ 422908 w 8114398"/>
              <a:gd name="connsiteY121" fmla="*/ 688020 h 6857998"/>
              <a:gd name="connsiteX122" fmla="*/ 427670 w 8114398"/>
              <a:gd name="connsiteY122" fmla="*/ 676590 h 6857998"/>
              <a:gd name="connsiteX123" fmla="*/ 410525 w 8114398"/>
              <a:gd name="connsiteY123" fmla="*/ 660398 h 6857998"/>
              <a:gd name="connsiteX124" fmla="*/ 371473 w 8114398"/>
              <a:gd name="connsiteY124" fmla="*/ 660398 h 6857998"/>
              <a:gd name="connsiteX125" fmla="*/ 400049 w 8114398"/>
              <a:gd name="connsiteY125" fmla="*/ 644683 h 6857998"/>
              <a:gd name="connsiteX126" fmla="*/ 575309 w 8114398"/>
              <a:gd name="connsiteY126" fmla="*/ 822800 h 6857998"/>
              <a:gd name="connsiteX127" fmla="*/ 400049 w 8114398"/>
              <a:gd name="connsiteY127" fmla="*/ 996155 h 6857998"/>
              <a:gd name="connsiteX128" fmla="*/ 224789 w 8114398"/>
              <a:gd name="connsiteY128" fmla="*/ 819943 h 6857998"/>
              <a:gd name="connsiteX129" fmla="*/ 400049 w 8114398"/>
              <a:gd name="connsiteY129" fmla="*/ 644683 h 6857998"/>
              <a:gd name="connsiteX130" fmla="*/ 400049 w 8114398"/>
              <a:gd name="connsiteY130" fmla="*/ 619918 h 6857998"/>
              <a:gd name="connsiteX131" fmla="*/ 200024 w 8114398"/>
              <a:gd name="connsiteY131" fmla="*/ 819943 h 6857998"/>
              <a:gd name="connsiteX132" fmla="*/ 400049 w 8114398"/>
              <a:gd name="connsiteY132" fmla="*/ 1019968 h 6857998"/>
              <a:gd name="connsiteX133" fmla="*/ 600074 w 8114398"/>
              <a:gd name="connsiteY133" fmla="*/ 819943 h 6857998"/>
              <a:gd name="connsiteX134" fmla="*/ 400049 w 8114398"/>
              <a:gd name="connsiteY134" fmla="*/ 619918 h 6857998"/>
              <a:gd name="connsiteX135" fmla="*/ 6285641 w 8114398"/>
              <a:gd name="connsiteY135" fmla="*/ 0 h 6857998"/>
              <a:gd name="connsiteX136" fmla="*/ 8114398 w 8114398"/>
              <a:gd name="connsiteY136" fmla="*/ 0 h 6857998"/>
              <a:gd name="connsiteX137" fmla="*/ 8114398 w 8114398"/>
              <a:gd name="connsiteY137" fmla="*/ 6857998 h 6857998"/>
              <a:gd name="connsiteX138" fmla="*/ 3780054 w 8114398"/>
              <a:gd name="connsiteY138" fmla="*/ 6857998 h 6857998"/>
              <a:gd name="connsiteX139" fmla="*/ 0 w 8114398"/>
              <a:gd name="connsiteY139" fmla="*/ 0 h 6857998"/>
              <a:gd name="connsiteX140" fmla="*/ 6266477 w 8114398"/>
              <a:gd name="connsiteY140" fmla="*/ 0 h 6857998"/>
              <a:gd name="connsiteX141" fmla="*/ 3760890 w 8114398"/>
              <a:gd name="connsiteY141" fmla="*/ 6857998 h 6857998"/>
              <a:gd name="connsiteX142" fmla="*/ 0 w 8114398"/>
              <a:gd name="connsiteY142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8114398" h="6857998">
                <a:moveTo>
                  <a:pt x="385599" y="941860"/>
                </a:moveTo>
                <a:cubicBezTo>
                  <a:pt x="385599" y="941860"/>
                  <a:pt x="385599" y="941860"/>
                  <a:pt x="405601" y="941860"/>
                </a:cubicBezTo>
                <a:cubicBezTo>
                  <a:pt x="408459" y="941860"/>
                  <a:pt x="411316" y="944718"/>
                  <a:pt x="411316" y="946623"/>
                </a:cubicBezTo>
                <a:cubicBezTo>
                  <a:pt x="411316" y="950433"/>
                  <a:pt x="408459" y="952338"/>
                  <a:pt x="405601" y="952338"/>
                </a:cubicBezTo>
                <a:cubicBezTo>
                  <a:pt x="405601" y="952338"/>
                  <a:pt x="405601" y="952338"/>
                  <a:pt x="385599" y="952338"/>
                </a:cubicBezTo>
                <a:cubicBezTo>
                  <a:pt x="385599" y="952338"/>
                  <a:pt x="385599" y="952338"/>
                  <a:pt x="385599" y="941860"/>
                </a:cubicBezTo>
                <a:close/>
                <a:moveTo>
                  <a:pt x="372264" y="929478"/>
                </a:moveTo>
                <a:cubicBezTo>
                  <a:pt x="372264" y="929478"/>
                  <a:pt x="372264" y="929478"/>
                  <a:pt x="372264" y="986628"/>
                </a:cubicBezTo>
                <a:cubicBezTo>
                  <a:pt x="372264" y="986628"/>
                  <a:pt x="372264" y="986628"/>
                  <a:pt x="385599" y="986628"/>
                </a:cubicBezTo>
                <a:cubicBezTo>
                  <a:pt x="385599" y="986628"/>
                  <a:pt x="385599" y="986628"/>
                  <a:pt x="385599" y="964720"/>
                </a:cubicBezTo>
                <a:cubicBezTo>
                  <a:pt x="385599" y="964720"/>
                  <a:pt x="385599" y="964720"/>
                  <a:pt x="396076" y="964720"/>
                </a:cubicBezTo>
                <a:lnTo>
                  <a:pt x="413221" y="986628"/>
                </a:lnTo>
                <a:cubicBezTo>
                  <a:pt x="413221" y="986628"/>
                  <a:pt x="413221" y="986628"/>
                  <a:pt x="429414" y="986628"/>
                </a:cubicBezTo>
                <a:cubicBezTo>
                  <a:pt x="429414" y="986628"/>
                  <a:pt x="429414" y="986628"/>
                  <a:pt x="413221" y="964720"/>
                </a:cubicBezTo>
                <a:cubicBezTo>
                  <a:pt x="419889" y="962815"/>
                  <a:pt x="425604" y="956148"/>
                  <a:pt x="425604" y="947575"/>
                </a:cubicBezTo>
                <a:cubicBezTo>
                  <a:pt x="425604" y="937098"/>
                  <a:pt x="417031" y="929478"/>
                  <a:pt x="407506" y="929478"/>
                </a:cubicBezTo>
                <a:cubicBezTo>
                  <a:pt x="407506" y="929478"/>
                  <a:pt x="407506" y="929478"/>
                  <a:pt x="372264" y="929478"/>
                </a:cubicBezTo>
                <a:close/>
                <a:moveTo>
                  <a:pt x="371472" y="860422"/>
                </a:moveTo>
                <a:lnTo>
                  <a:pt x="371472" y="917572"/>
                </a:lnTo>
                <a:lnTo>
                  <a:pt x="419097" y="917572"/>
                </a:lnTo>
                <a:lnTo>
                  <a:pt x="419097" y="906142"/>
                </a:lnTo>
                <a:lnTo>
                  <a:pt x="383854" y="906142"/>
                </a:lnTo>
                <a:lnTo>
                  <a:pt x="383854" y="893759"/>
                </a:lnTo>
                <a:lnTo>
                  <a:pt x="417192" y="893759"/>
                </a:lnTo>
                <a:lnTo>
                  <a:pt x="417192" y="882329"/>
                </a:lnTo>
                <a:lnTo>
                  <a:pt x="383854" y="882329"/>
                </a:lnTo>
                <a:lnTo>
                  <a:pt x="383854" y="871852"/>
                </a:lnTo>
                <a:lnTo>
                  <a:pt x="419097" y="871852"/>
                </a:lnTo>
                <a:lnTo>
                  <a:pt x="419097" y="860422"/>
                </a:lnTo>
                <a:close/>
                <a:moveTo>
                  <a:pt x="251457" y="827084"/>
                </a:moveTo>
                <a:cubicBezTo>
                  <a:pt x="251457" y="827084"/>
                  <a:pt x="251457" y="827084"/>
                  <a:pt x="276222" y="827084"/>
                </a:cubicBezTo>
                <a:cubicBezTo>
                  <a:pt x="279079" y="827084"/>
                  <a:pt x="281937" y="829942"/>
                  <a:pt x="281937" y="832799"/>
                </a:cubicBezTo>
                <a:cubicBezTo>
                  <a:pt x="281937" y="836609"/>
                  <a:pt x="279079" y="838514"/>
                  <a:pt x="276222" y="838514"/>
                </a:cubicBezTo>
                <a:cubicBezTo>
                  <a:pt x="276222" y="838514"/>
                  <a:pt x="276222" y="838514"/>
                  <a:pt x="251457" y="838514"/>
                </a:cubicBezTo>
                <a:close/>
                <a:moveTo>
                  <a:pt x="337182" y="808034"/>
                </a:moveTo>
                <a:lnTo>
                  <a:pt x="346707" y="828989"/>
                </a:lnTo>
                <a:lnTo>
                  <a:pt x="327658" y="828989"/>
                </a:lnTo>
                <a:close/>
                <a:moveTo>
                  <a:pt x="518158" y="806129"/>
                </a:moveTo>
                <a:cubicBezTo>
                  <a:pt x="518158" y="806129"/>
                  <a:pt x="518158" y="806129"/>
                  <a:pt x="538160" y="806129"/>
                </a:cubicBezTo>
                <a:cubicBezTo>
                  <a:pt x="541018" y="806129"/>
                  <a:pt x="543875" y="808987"/>
                  <a:pt x="543875" y="810892"/>
                </a:cubicBezTo>
                <a:cubicBezTo>
                  <a:pt x="543875" y="814702"/>
                  <a:pt x="541018" y="816608"/>
                  <a:pt x="538160" y="816608"/>
                </a:cubicBezTo>
                <a:cubicBezTo>
                  <a:pt x="538160" y="816608"/>
                  <a:pt x="538160" y="816608"/>
                  <a:pt x="518158" y="816608"/>
                </a:cubicBezTo>
                <a:cubicBezTo>
                  <a:pt x="518158" y="816608"/>
                  <a:pt x="518158" y="816608"/>
                  <a:pt x="518158" y="806129"/>
                </a:cubicBezTo>
                <a:close/>
                <a:moveTo>
                  <a:pt x="251457" y="806129"/>
                </a:moveTo>
                <a:cubicBezTo>
                  <a:pt x="251457" y="806129"/>
                  <a:pt x="251457" y="806129"/>
                  <a:pt x="275269" y="806129"/>
                </a:cubicBezTo>
                <a:cubicBezTo>
                  <a:pt x="278127" y="806129"/>
                  <a:pt x="280032" y="808034"/>
                  <a:pt x="280032" y="810892"/>
                </a:cubicBezTo>
                <a:cubicBezTo>
                  <a:pt x="280032" y="813749"/>
                  <a:pt x="278127" y="815654"/>
                  <a:pt x="275269" y="815654"/>
                </a:cubicBezTo>
                <a:cubicBezTo>
                  <a:pt x="275269" y="815654"/>
                  <a:pt x="275269" y="815654"/>
                  <a:pt x="251457" y="815654"/>
                </a:cubicBezTo>
                <a:close/>
                <a:moveTo>
                  <a:pt x="361948" y="793748"/>
                </a:moveTo>
                <a:lnTo>
                  <a:pt x="388618" y="830895"/>
                </a:lnTo>
                <a:lnTo>
                  <a:pt x="388618" y="850898"/>
                </a:lnTo>
                <a:lnTo>
                  <a:pt x="401953" y="850898"/>
                </a:lnTo>
                <a:lnTo>
                  <a:pt x="401953" y="830895"/>
                </a:lnTo>
                <a:lnTo>
                  <a:pt x="428623" y="793748"/>
                </a:lnTo>
                <a:lnTo>
                  <a:pt x="413383" y="793748"/>
                </a:lnTo>
                <a:lnTo>
                  <a:pt x="394333" y="819465"/>
                </a:lnTo>
                <a:lnTo>
                  <a:pt x="377188" y="793748"/>
                </a:lnTo>
                <a:close/>
                <a:moveTo>
                  <a:pt x="438148" y="793748"/>
                </a:moveTo>
                <a:lnTo>
                  <a:pt x="438148" y="850898"/>
                </a:lnTo>
                <a:lnTo>
                  <a:pt x="495298" y="850898"/>
                </a:lnTo>
                <a:lnTo>
                  <a:pt x="495298" y="839468"/>
                </a:lnTo>
                <a:lnTo>
                  <a:pt x="452435" y="839468"/>
                </a:lnTo>
                <a:lnTo>
                  <a:pt x="452435" y="828038"/>
                </a:lnTo>
                <a:lnTo>
                  <a:pt x="493393" y="828038"/>
                </a:lnTo>
                <a:lnTo>
                  <a:pt x="493393" y="816608"/>
                </a:lnTo>
                <a:lnTo>
                  <a:pt x="452435" y="816608"/>
                </a:lnTo>
                <a:lnTo>
                  <a:pt x="452435" y="807083"/>
                </a:lnTo>
                <a:lnTo>
                  <a:pt x="495298" y="807083"/>
                </a:lnTo>
                <a:lnTo>
                  <a:pt x="495298" y="793748"/>
                </a:lnTo>
                <a:close/>
                <a:moveTo>
                  <a:pt x="504823" y="793747"/>
                </a:moveTo>
                <a:cubicBezTo>
                  <a:pt x="504823" y="793747"/>
                  <a:pt x="504823" y="793747"/>
                  <a:pt x="504823" y="850897"/>
                </a:cubicBezTo>
                <a:cubicBezTo>
                  <a:pt x="504823" y="850897"/>
                  <a:pt x="504823" y="850897"/>
                  <a:pt x="518158" y="850897"/>
                </a:cubicBezTo>
                <a:cubicBezTo>
                  <a:pt x="518158" y="850897"/>
                  <a:pt x="518158" y="850897"/>
                  <a:pt x="518158" y="828989"/>
                </a:cubicBezTo>
                <a:cubicBezTo>
                  <a:pt x="518158" y="828989"/>
                  <a:pt x="518158" y="828989"/>
                  <a:pt x="528635" y="828989"/>
                </a:cubicBezTo>
                <a:lnTo>
                  <a:pt x="545780" y="850897"/>
                </a:lnTo>
                <a:cubicBezTo>
                  <a:pt x="545780" y="850897"/>
                  <a:pt x="545780" y="850897"/>
                  <a:pt x="561973" y="850897"/>
                </a:cubicBezTo>
                <a:cubicBezTo>
                  <a:pt x="561973" y="850897"/>
                  <a:pt x="561973" y="850897"/>
                  <a:pt x="545780" y="828989"/>
                </a:cubicBezTo>
                <a:cubicBezTo>
                  <a:pt x="552448" y="827084"/>
                  <a:pt x="558163" y="820417"/>
                  <a:pt x="558163" y="811844"/>
                </a:cubicBezTo>
                <a:cubicBezTo>
                  <a:pt x="558163" y="801368"/>
                  <a:pt x="549590" y="793747"/>
                  <a:pt x="540065" y="793747"/>
                </a:cubicBezTo>
                <a:cubicBezTo>
                  <a:pt x="540065" y="793747"/>
                  <a:pt x="540065" y="793747"/>
                  <a:pt x="504823" y="793747"/>
                </a:cubicBezTo>
                <a:close/>
                <a:moveTo>
                  <a:pt x="331468" y="793747"/>
                </a:moveTo>
                <a:lnTo>
                  <a:pt x="304798" y="850897"/>
                </a:lnTo>
                <a:lnTo>
                  <a:pt x="319084" y="850897"/>
                </a:lnTo>
                <a:lnTo>
                  <a:pt x="321943" y="841372"/>
                </a:lnTo>
                <a:lnTo>
                  <a:pt x="352422" y="841372"/>
                </a:lnTo>
                <a:lnTo>
                  <a:pt x="357184" y="850897"/>
                </a:lnTo>
                <a:lnTo>
                  <a:pt x="371472" y="850897"/>
                </a:lnTo>
                <a:lnTo>
                  <a:pt x="343849" y="793747"/>
                </a:lnTo>
                <a:close/>
                <a:moveTo>
                  <a:pt x="238122" y="793747"/>
                </a:moveTo>
                <a:cubicBezTo>
                  <a:pt x="238122" y="793747"/>
                  <a:pt x="238122" y="793747"/>
                  <a:pt x="238122" y="850897"/>
                </a:cubicBezTo>
                <a:cubicBezTo>
                  <a:pt x="238122" y="850897"/>
                  <a:pt x="238122" y="850897"/>
                  <a:pt x="278127" y="850897"/>
                </a:cubicBezTo>
                <a:cubicBezTo>
                  <a:pt x="287652" y="850897"/>
                  <a:pt x="295272" y="843277"/>
                  <a:pt x="295272" y="833752"/>
                </a:cubicBezTo>
                <a:cubicBezTo>
                  <a:pt x="295272" y="828989"/>
                  <a:pt x="293367" y="824227"/>
                  <a:pt x="289557" y="821369"/>
                </a:cubicBezTo>
                <a:cubicBezTo>
                  <a:pt x="292414" y="818512"/>
                  <a:pt x="293367" y="814702"/>
                  <a:pt x="293367" y="810892"/>
                </a:cubicBezTo>
                <a:cubicBezTo>
                  <a:pt x="293367" y="801367"/>
                  <a:pt x="286699" y="793747"/>
                  <a:pt x="277174" y="793747"/>
                </a:cubicBezTo>
                <a:cubicBezTo>
                  <a:pt x="277174" y="793747"/>
                  <a:pt x="277174" y="793747"/>
                  <a:pt x="238122" y="793747"/>
                </a:cubicBezTo>
                <a:close/>
                <a:moveTo>
                  <a:pt x="394333" y="741360"/>
                </a:moveTo>
                <a:lnTo>
                  <a:pt x="404810" y="762315"/>
                </a:lnTo>
                <a:lnTo>
                  <a:pt x="384808" y="762315"/>
                </a:lnTo>
                <a:close/>
                <a:moveTo>
                  <a:pt x="388618" y="727073"/>
                </a:moveTo>
                <a:lnTo>
                  <a:pt x="361948" y="784223"/>
                </a:lnTo>
                <a:lnTo>
                  <a:pt x="375283" y="784223"/>
                </a:lnTo>
                <a:lnTo>
                  <a:pt x="380045" y="774698"/>
                </a:lnTo>
                <a:lnTo>
                  <a:pt x="409573" y="774698"/>
                </a:lnTo>
                <a:lnTo>
                  <a:pt x="414335" y="784223"/>
                </a:lnTo>
                <a:lnTo>
                  <a:pt x="428623" y="784223"/>
                </a:lnTo>
                <a:lnTo>
                  <a:pt x="401000" y="727073"/>
                </a:lnTo>
                <a:close/>
                <a:moveTo>
                  <a:pt x="384808" y="693735"/>
                </a:moveTo>
                <a:cubicBezTo>
                  <a:pt x="384808" y="693735"/>
                  <a:pt x="384808" y="693735"/>
                  <a:pt x="409573" y="693735"/>
                </a:cubicBezTo>
                <a:cubicBezTo>
                  <a:pt x="412430" y="693735"/>
                  <a:pt x="415288" y="696593"/>
                  <a:pt x="415288" y="699450"/>
                </a:cubicBezTo>
                <a:cubicBezTo>
                  <a:pt x="415288" y="703260"/>
                  <a:pt x="412430" y="705165"/>
                  <a:pt x="409573" y="705165"/>
                </a:cubicBezTo>
                <a:cubicBezTo>
                  <a:pt x="409573" y="705165"/>
                  <a:pt x="409573" y="705165"/>
                  <a:pt x="384808" y="705165"/>
                </a:cubicBezTo>
                <a:close/>
                <a:moveTo>
                  <a:pt x="384808" y="672780"/>
                </a:moveTo>
                <a:cubicBezTo>
                  <a:pt x="384808" y="672780"/>
                  <a:pt x="384808" y="672780"/>
                  <a:pt x="408620" y="672780"/>
                </a:cubicBezTo>
                <a:cubicBezTo>
                  <a:pt x="411478" y="672780"/>
                  <a:pt x="413383" y="674685"/>
                  <a:pt x="413383" y="677543"/>
                </a:cubicBezTo>
                <a:cubicBezTo>
                  <a:pt x="413383" y="680400"/>
                  <a:pt x="411478" y="682305"/>
                  <a:pt x="408620" y="682305"/>
                </a:cubicBezTo>
                <a:cubicBezTo>
                  <a:pt x="408620" y="682305"/>
                  <a:pt x="408620" y="682305"/>
                  <a:pt x="384808" y="682305"/>
                </a:cubicBezTo>
                <a:close/>
                <a:moveTo>
                  <a:pt x="371473" y="660398"/>
                </a:moveTo>
                <a:cubicBezTo>
                  <a:pt x="371473" y="660398"/>
                  <a:pt x="371473" y="660398"/>
                  <a:pt x="371473" y="717548"/>
                </a:cubicBezTo>
                <a:cubicBezTo>
                  <a:pt x="371473" y="717548"/>
                  <a:pt x="371473" y="717548"/>
                  <a:pt x="411478" y="717548"/>
                </a:cubicBezTo>
                <a:cubicBezTo>
                  <a:pt x="421003" y="717548"/>
                  <a:pt x="428623" y="709928"/>
                  <a:pt x="428623" y="700403"/>
                </a:cubicBezTo>
                <a:cubicBezTo>
                  <a:pt x="428623" y="695640"/>
                  <a:pt x="426718" y="690878"/>
                  <a:pt x="422908" y="688020"/>
                </a:cubicBezTo>
                <a:cubicBezTo>
                  <a:pt x="425765" y="685163"/>
                  <a:pt x="427670" y="681353"/>
                  <a:pt x="427670" y="676590"/>
                </a:cubicBezTo>
                <a:cubicBezTo>
                  <a:pt x="427670" y="668018"/>
                  <a:pt x="420050" y="660398"/>
                  <a:pt x="410525" y="660398"/>
                </a:cubicBezTo>
                <a:cubicBezTo>
                  <a:pt x="410525" y="660398"/>
                  <a:pt x="410525" y="660398"/>
                  <a:pt x="371473" y="660398"/>
                </a:cubicBezTo>
                <a:close/>
                <a:moveTo>
                  <a:pt x="400049" y="644683"/>
                </a:moveTo>
                <a:cubicBezTo>
                  <a:pt x="500061" y="644683"/>
                  <a:pt x="575309" y="721835"/>
                  <a:pt x="575309" y="822800"/>
                </a:cubicBezTo>
                <a:cubicBezTo>
                  <a:pt x="575309" y="922813"/>
                  <a:pt x="500061" y="996155"/>
                  <a:pt x="400049" y="996155"/>
                </a:cubicBezTo>
                <a:cubicBezTo>
                  <a:pt x="300036" y="996155"/>
                  <a:pt x="224789" y="919955"/>
                  <a:pt x="224789" y="819943"/>
                </a:cubicBezTo>
                <a:cubicBezTo>
                  <a:pt x="224789" y="719930"/>
                  <a:pt x="300036" y="644683"/>
                  <a:pt x="400049" y="644683"/>
                </a:cubicBezTo>
                <a:close/>
                <a:moveTo>
                  <a:pt x="400049" y="619918"/>
                </a:moveTo>
                <a:cubicBezTo>
                  <a:pt x="289559" y="619918"/>
                  <a:pt x="200024" y="709453"/>
                  <a:pt x="200024" y="819943"/>
                </a:cubicBezTo>
                <a:cubicBezTo>
                  <a:pt x="200024" y="930433"/>
                  <a:pt x="289559" y="1019968"/>
                  <a:pt x="400049" y="1019968"/>
                </a:cubicBezTo>
                <a:cubicBezTo>
                  <a:pt x="510539" y="1019968"/>
                  <a:pt x="600074" y="930433"/>
                  <a:pt x="600074" y="819943"/>
                </a:cubicBezTo>
                <a:cubicBezTo>
                  <a:pt x="600074" y="709453"/>
                  <a:pt x="510539" y="619918"/>
                  <a:pt x="400049" y="619918"/>
                </a:cubicBezTo>
                <a:close/>
                <a:moveTo>
                  <a:pt x="6285641" y="0"/>
                </a:moveTo>
                <a:lnTo>
                  <a:pt x="8114398" y="0"/>
                </a:lnTo>
                <a:lnTo>
                  <a:pt x="8114398" y="6857998"/>
                </a:lnTo>
                <a:lnTo>
                  <a:pt x="3780054" y="6857998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2F8C671-FCED-47EE-98C9-6A63338A68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337080" y="0"/>
            <a:ext cx="7854920" cy="6858000"/>
          </a:xfrm>
          <a:custGeom>
            <a:avLst/>
            <a:gdLst>
              <a:gd name="connsiteX0" fmla="*/ 1945592 w 7853898"/>
              <a:gd name="connsiteY0" fmla="*/ 0 h 6858000"/>
              <a:gd name="connsiteX1" fmla="*/ 3777198 w 7853898"/>
              <a:gd name="connsiteY1" fmla="*/ 0 h 6858000"/>
              <a:gd name="connsiteX2" fmla="*/ 4658260 w 7853898"/>
              <a:gd name="connsiteY2" fmla="*/ 0 h 6858000"/>
              <a:gd name="connsiteX3" fmla="*/ 7853898 w 7853898"/>
              <a:gd name="connsiteY3" fmla="*/ 0 h 6858000"/>
              <a:gd name="connsiteX4" fmla="*/ 7853898 w 7853898"/>
              <a:gd name="connsiteY4" fmla="*/ 6858000 h 6858000"/>
              <a:gd name="connsiteX5" fmla="*/ 4658260 w 7853898"/>
              <a:gd name="connsiteY5" fmla="*/ 6858000 h 6858000"/>
              <a:gd name="connsiteX6" fmla="*/ 3777198 w 7853898"/>
              <a:gd name="connsiteY6" fmla="*/ 6858000 h 6858000"/>
              <a:gd name="connsiteX7" fmla="*/ 1327085 w 7853898"/>
              <a:gd name="connsiteY7" fmla="*/ 6858000 h 6858000"/>
              <a:gd name="connsiteX8" fmla="*/ 0 w 7853898"/>
              <a:gd name="connsiteY8" fmla="*/ 6858000 h 6858000"/>
              <a:gd name="connsiteX9" fmla="*/ 631152 w 7853898"/>
              <a:gd name="connsiteY9" fmla="*/ 3597203 h 6858000"/>
              <a:gd name="connsiteX10" fmla="*/ 1327085 w 7853898"/>
              <a:gd name="connsiteY10" fmla="*/ 0 h 6858000"/>
              <a:gd name="connsiteX11" fmla="*/ 1926428 w 7853898"/>
              <a:gd name="connsiteY11" fmla="*/ 0 h 6858000"/>
              <a:gd name="connsiteX12" fmla="*/ 652736 w 7853898"/>
              <a:gd name="connsiteY12" fmla="*/ 3485687 h 6858000"/>
              <a:gd name="connsiteX13" fmla="*/ 1327085 w 7853898"/>
              <a:gd name="connsiteY13" fmla="*/ 1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853898" h="6858000">
                <a:moveTo>
                  <a:pt x="1945592" y="0"/>
                </a:moveTo>
                <a:lnTo>
                  <a:pt x="3777198" y="0"/>
                </a:lnTo>
                <a:lnTo>
                  <a:pt x="4658260" y="0"/>
                </a:lnTo>
                <a:lnTo>
                  <a:pt x="7853898" y="0"/>
                </a:lnTo>
                <a:lnTo>
                  <a:pt x="7853898" y="6858000"/>
                </a:lnTo>
                <a:lnTo>
                  <a:pt x="4658260" y="6858000"/>
                </a:lnTo>
                <a:lnTo>
                  <a:pt x="3777198" y="6858000"/>
                </a:lnTo>
                <a:lnTo>
                  <a:pt x="1327085" y="6858000"/>
                </a:lnTo>
                <a:lnTo>
                  <a:pt x="0" y="6858000"/>
                </a:lnTo>
                <a:lnTo>
                  <a:pt x="631152" y="3597203"/>
                </a:lnTo>
                <a:close/>
                <a:moveTo>
                  <a:pt x="1327085" y="0"/>
                </a:moveTo>
                <a:lnTo>
                  <a:pt x="1926428" y="0"/>
                </a:lnTo>
                <a:lnTo>
                  <a:pt x="652736" y="3485687"/>
                </a:lnTo>
                <a:lnTo>
                  <a:pt x="1327085" y="1712"/>
                </a:lnTo>
                <a:close/>
              </a:path>
            </a:pathLst>
          </a:custGeom>
          <a:gradFill>
            <a:gsLst>
              <a:gs pos="0">
                <a:srgbClr val="10384F"/>
              </a:gs>
              <a:gs pos="54000">
                <a:srgbClr val="10384F"/>
              </a:gs>
              <a:gs pos="100000">
                <a:srgbClr val="10384F">
                  <a:alpha val="90000"/>
                </a:srgbClr>
              </a:gs>
            </a:gsLst>
            <a:lin ang="10800000" scaled="0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blackGray">
          <a:xfrm flipV="1">
            <a:off x="3768346" y="0"/>
            <a:ext cx="2507333" cy="68580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48014C0E-0C4F-4622-8BF5-09DDBB13B6D0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1467912-1545-4993-9077-17D9670FB8B9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2B4303-08B3-4093-B75A-28E14949D5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81948" y="1138298"/>
            <a:ext cx="5222810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25FAE8D-0D23-44C8-BD5C-4412C7CF687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60457" y="1732750"/>
            <a:ext cx="5220680" cy="47519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70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Tex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1">
            <a:extLst>
              <a:ext uri="{FF2B5EF4-FFF2-40B4-BE49-F238E27FC236}">
                <a16:creationId xmlns:a16="http://schemas.microsoft.com/office/drawing/2014/main" id="{295B987C-1A3D-4F55-9174-A799E10BF4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blackGray">
          <a:xfrm>
            <a:off x="3" y="3"/>
            <a:ext cx="8115454" cy="6857998"/>
          </a:xfrm>
          <a:custGeom>
            <a:avLst/>
            <a:gdLst>
              <a:gd name="connsiteX0" fmla="*/ 385599 w 8114398"/>
              <a:gd name="connsiteY0" fmla="*/ 941860 h 6857998"/>
              <a:gd name="connsiteX1" fmla="*/ 405601 w 8114398"/>
              <a:gd name="connsiteY1" fmla="*/ 941860 h 6857998"/>
              <a:gd name="connsiteX2" fmla="*/ 411316 w 8114398"/>
              <a:gd name="connsiteY2" fmla="*/ 946623 h 6857998"/>
              <a:gd name="connsiteX3" fmla="*/ 405601 w 8114398"/>
              <a:gd name="connsiteY3" fmla="*/ 952338 h 6857998"/>
              <a:gd name="connsiteX4" fmla="*/ 385599 w 8114398"/>
              <a:gd name="connsiteY4" fmla="*/ 952338 h 6857998"/>
              <a:gd name="connsiteX5" fmla="*/ 385599 w 8114398"/>
              <a:gd name="connsiteY5" fmla="*/ 941860 h 6857998"/>
              <a:gd name="connsiteX6" fmla="*/ 372264 w 8114398"/>
              <a:gd name="connsiteY6" fmla="*/ 929478 h 6857998"/>
              <a:gd name="connsiteX7" fmla="*/ 372264 w 8114398"/>
              <a:gd name="connsiteY7" fmla="*/ 986628 h 6857998"/>
              <a:gd name="connsiteX8" fmla="*/ 385599 w 8114398"/>
              <a:gd name="connsiteY8" fmla="*/ 986628 h 6857998"/>
              <a:gd name="connsiteX9" fmla="*/ 385599 w 8114398"/>
              <a:gd name="connsiteY9" fmla="*/ 964720 h 6857998"/>
              <a:gd name="connsiteX10" fmla="*/ 396076 w 8114398"/>
              <a:gd name="connsiteY10" fmla="*/ 964720 h 6857998"/>
              <a:gd name="connsiteX11" fmla="*/ 413221 w 8114398"/>
              <a:gd name="connsiteY11" fmla="*/ 986628 h 6857998"/>
              <a:gd name="connsiteX12" fmla="*/ 429414 w 8114398"/>
              <a:gd name="connsiteY12" fmla="*/ 986628 h 6857998"/>
              <a:gd name="connsiteX13" fmla="*/ 413221 w 8114398"/>
              <a:gd name="connsiteY13" fmla="*/ 964720 h 6857998"/>
              <a:gd name="connsiteX14" fmla="*/ 425604 w 8114398"/>
              <a:gd name="connsiteY14" fmla="*/ 947575 h 6857998"/>
              <a:gd name="connsiteX15" fmla="*/ 407506 w 8114398"/>
              <a:gd name="connsiteY15" fmla="*/ 929478 h 6857998"/>
              <a:gd name="connsiteX16" fmla="*/ 372264 w 8114398"/>
              <a:gd name="connsiteY16" fmla="*/ 929478 h 6857998"/>
              <a:gd name="connsiteX17" fmla="*/ 371472 w 8114398"/>
              <a:gd name="connsiteY17" fmla="*/ 860422 h 6857998"/>
              <a:gd name="connsiteX18" fmla="*/ 371472 w 8114398"/>
              <a:gd name="connsiteY18" fmla="*/ 917572 h 6857998"/>
              <a:gd name="connsiteX19" fmla="*/ 419097 w 8114398"/>
              <a:gd name="connsiteY19" fmla="*/ 917572 h 6857998"/>
              <a:gd name="connsiteX20" fmla="*/ 419097 w 8114398"/>
              <a:gd name="connsiteY20" fmla="*/ 906142 h 6857998"/>
              <a:gd name="connsiteX21" fmla="*/ 383854 w 8114398"/>
              <a:gd name="connsiteY21" fmla="*/ 906142 h 6857998"/>
              <a:gd name="connsiteX22" fmla="*/ 383854 w 8114398"/>
              <a:gd name="connsiteY22" fmla="*/ 893759 h 6857998"/>
              <a:gd name="connsiteX23" fmla="*/ 417192 w 8114398"/>
              <a:gd name="connsiteY23" fmla="*/ 893759 h 6857998"/>
              <a:gd name="connsiteX24" fmla="*/ 417192 w 8114398"/>
              <a:gd name="connsiteY24" fmla="*/ 882329 h 6857998"/>
              <a:gd name="connsiteX25" fmla="*/ 383854 w 8114398"/>
              <a:gd name="connsiteY25" fmla="*/ 882329 h 6857998"/>
              <a:gd name="connsiteX26" fmla="*/ 383854 w 8114398"/>
              <a:gd name="connsiteY26" fmla="*/ 871852 h 6857998"/>
              <a:gd name="connsiteX27" fmla="*/ 419097 w 8114398"/>
              <a:gd name="connsiteY27" fmla="*/ 871852 h 6857998"/>
              <a:gd name="connsiteX28" fmla="*/ 419097 w 8114398"/>
              <a:gd name="connsiteY28" fmla="*/ 860422 h 6857998"/>
              <a:gd name="connsiteX29" fmla="*/ 251457 w 8114398"/>
              <a:gd name="connsiteY29" fmla="*/ 827084 h 6857998"/>
              <a:gd name="connsiteX30" fmla="*/ 276222 w 8114398"/>
              <a:gd name="connsiteY30" fmla="*/ 827084 h 6857998"/>
              <a:gd name="connsiteX31" fmla="*/ 281937 w 8114398"/>
              <a:gd name="connsiteY31" fmla="*/ 832799 h 6857998"/>
              <a:gd name="connsiteX32" fmla="*/ 276222 w 8114398"/>
              <a:gd name="connsiteY32" fmla="*/ 838514 h 6857998"/>
              <a:gd name="connsiteX33" fmla="*/ 251457 w 8114398"/>
              <a:gd name="connsiteY33" fmla="*/ 838514 h 6857998"/>
              <a:gd name="connsiteX34" fmla="*/ 337182 w 8114398"/>
              <a:gd name="connsiteY34" fmla="*/ 808034 h 6857998"/>
              <a:gd name="connsiteX35" fmla="*/ 346707 w 8114398"/>
              <a:gd name="connsiteY35" fmla="*/ 828989 h 6857998"/>
              <a:gd name="connsiteX36" fmla="*/ 327658 w 8114398"/>
              <a:gd name="connsiteY36" fmla="*/ 828989 h 6857998"/>
              <a:gd name="connsiteX37" fmla="*/ 518158 w 8114398"/>
              <a:gd name="connsiteY37" fmla="*/ 806129 h 6857998"/>
              <a:gd name="connsiteX38" fmla="*/ 538160 w 8114398"/>
              <a:gd name="connsiteY38" fmla="*/ 806129 h 6857998"/>
              <a:gd name="connsiteX39" fmla="*/ 543875 w 8114398"/>
              <a:gd name="connsiteY39" fmla="*/ 810892 h 6857998"/>
              <a:gd name="connsiteX40" fmla="*/ 538160 w 8114398"/>
              <a:gd name="connsiteY40" fmla="*/ 816608 h 6857998"/>
              <a:gd name="connsiteX41" fmla="*/ 518158 w 8114398"/>
              <a:gd name="connsiteY41" fmla="*/ 816608 h 6857998"/>
              <a:gd name="connsiteX42" fmla="*/ 518158 w 8114398"/>
              <a:gd name="connsiteY42" fmla="*/ 806129 h 6857998"/>
              <a:gd name="connsiteX43" fmla="*/ 251457 w 8114398"/>
              <a:gd name="connsiteY43" fmla="*/ 806129 h 6857998"/>
              <a:gd name="connsiteX44" fmla="*/ 275269 w 8114398"/>
              <a:gd name="connsiteY44" fmla="*/ 806129 h 6857998"/>
              <a:gd name="connsiteX45" fmla="*/ 280032 w 8114398"/>
              <a:gd name="connsiteY45" fmla="*/ 810892 h 6857998"/>
              <a:gd name="connsiteX46" fmla="*/ 275269 w 8114398"/>
              <a:gd name="connsiteY46" fmla="*/ 815654 h 6857998"/>
              <a:gd name="connsiteX47" fmla="*/ 251457 w 8114398"/>
              <a:gd name="connsiteY47" fmla="*/ 815654 h 6857998"/>
              <a:gd name="connsiteX48" fmla="*/ 361948 w 8114398"/>
              <a:gd name="connsiteY48" fmla="*/ 793748 h 6857998"/>
              <a:gd name="connsiteX49" fmla="*/ 388618 w 8114398"/>
              <a:gd name="connsiteY49" fmla="*/ 830895 h 6857998"/>
              <a:gd name="connsiteX50" fmla="*/ 388618 w 8114398"/>
              <a:gd name="connsiteY50" fmla="*/ 850898 h 6857998"/>
              <a:gd name="connsiteX51" fmla="*/ 401953 w 8114398"/>
              <a:gd name="connsiteY51" fmla="*/ 850898 h 6857998"/>
              <a:gd name="connsiteX52" fmla="*/ 401953 w 8114398"/>
              <a:gd name="connsiteY52" fmla="*/ 830895 h 6857998"/>
              <a:gd name="connsiteX53" fmla="*/ 428623 w 8114398"/>
              <a:gd name="connsiteY53" fmla="*/ 793748 h 6857998"/>
              <a:gd name="connsiteX54" fmla="*/ 413383 w 8114398"/>
              <a:gd name="connsiteY54" fmla="*/ 793748 h 6857998"/>
              <a:gd name="connsiteX55" fmla="*/ 394333 w 8114398"/>
              <a:gd name="connsiteY55" fmla="*/ 819465 h 6857998"/>
              <a:gd name="connsiteX56" fmla="*/ 377188 w 8114398"/>
              <a:gd name="connsiteY56" fmla="*/ 793748 h 6857998"/>
              <a:gd name="connsiteX57" fmla="*/ 438148 w 8114398"/>
              <a:gd name="connsiteY57" fmla="*/ 793748 h 6857998"/>
              <a:gd name="connsiteX58" fmla="*/ 438148 w 8114398"/>
              <a:gd name="connsiteY58" fmla="*/ 850898 h 6857998"/>
              <a:gd name="connsiteX59" fmla="*/ 495298 w 8114398"/>
              <a:gd name="connsiteY59" fmla="*/ 850898 h 6857998"/>
              <a:gd name="connsiteX60" fmla="*/ 495298 w 8114398"/>
              <a:gd name="connsiteY60" fmla="*/ 839468 h 6857998"/>
              <a:gd name="connsiteX61" fmla="*/ 452435 w 8114398"/>
              <a:gd name="connsiteY61" fmla="*/ 839468 h 6857998"/>
              <a:gd name="connsiteX62" fmla="*/ 452435 w 8114398"/>
              <a:gd name="connsiteY62" fmla="*/ 828038 h 6857998"/>
              <a:gd name="connsiteX63" fmla="*/ 493393 w 8114398"/>
              <a:gd name="connsiteY63" fmla="*/ 828038 h 6857998"/>
              <a:gd name="connsiteX64" fmla="*/ 493393 w 8114398"/>
              <a:gd name="connsiteY64" fmla="*/ 816608 h 6857998"/>
              <a:gd name="connsiteX65" fmla="*/ 452435 w 8114398"/>
              <a:gd name="connsiteY65" fmla="*/ 816608 h 6857998"/>
              <a:gd name="connsiteX66" fmla="*/ 452435 w 8114398"/>
              <a:gd name="connsiteY66" fmla="*/ 807083 h 6857998"/>
              <a:gd name="connsiteX67" fmla="*/ 495298 w 8114398"/>
              <a:gd name="connsiteY67" fmla="*/ 807083 h 6857998"/>
              <a:gd name="connsiteX68" fmla="*/ 495298 w 8114398"/>
              <a:gd name="connsiteY68" fmla="*/ 793748 h 6857998"/>
              <a:gd name="connsiteX69" fmla="*/ 504823 w 8114398"/>
              <a:gd name="connsiteY69" fmla="*/ 793747 h 6857998"/>
              <a:gd name="connsiteX70" fmla="*/ 504823 w 8114398"/>
              <a:gd name="connsiteY70" fmla="*/ 850897 h 6857998"/>
              <a:gd name="connsiteX71" fmla="*/ 518158 w 8114398"/>
              <a:gd name="connsiteY71" fmla="*/ 850897 h 6857998"/>
              <a:gd name="connsiteX72" fmla="*/ 518158 w 8114398"/>
              <a:gd name="connsiteY72" fmla="*/ 828989 h 6857998"/>
              <a:gd name="connsiteX73" fmla="*/ 528635 w 8114398"/>
              <a:gd name="connsiteY73" fmla="*/ 828989 h 6857998"/>
              <a:gd name="connsiteX74" fmla="*/ 545780 w 8114398"/>
              <a:gd name="connsiteY74" fmla="*/ 850897 h 6857998"/>
              <a:gd name="connsiteX75" fmla="*/ 561973 w 8114398"/>
              <a:gd name="connsiteY75" fmla="*/ 850897 h 6857998"/>
              <a:gd name="connsiteX76" fmla="*/ 545780 w 8114398"/>
              <a:gd name="connsiteY76" fmla="*/ 828989 h 6857998"/>
              <a:gd name="connsiteX77" fmla="*/ 558163 w 8114398"/>
              <a:gd name="connsiteY77" fmla="*/ 811844 h 6857998"/>
              <a:gd name="connsiteX78" fmla="*/ 540065 w 8114398"/>
              <a:gd name="connsiteY78" fmla="*/ 793747 h 6857998"/>
              <a:gd name="connsiteX79" fmla="*/ 504823 w 8114398"/>
              <a:gd name="connsiteY79" fmla="*/ 793747 h 6857998"/>
              <a:gd name="connsiteX80" fmla="*/ 331468 w 8114398"/>
              <a:gd name="connsiteY80" fmla="*/ 793747 h 6857998"/>
              <a:gd name="connsiteX81" fmla="*/ 304798 w 8114398"/>
              <a:gd name="connsiteY81" fmla="*/ 850897 h 6857998"/>
              <a:gd name="connsiteX82" fmla="*/ 319084 w 8114398"/>
              <a:gd name="connsiteY82" fmla="*/ 850897 h 6857998"/>
              <a:gd name="connsiteX83" fmla="*/ 321943 w 8114398"/>
              <a:gd name="connsiteY83" fmla="*/ 841372 h 6857998"/>
              <a:gd name="connsiteX84" fmla="*/ 352422 w 8114398"/>
              <a:gd name="connsiteY84" fmla="*/ 841372 h 6857998"/>
              <a:gd name="connsiteX85" fmla="*/ 357184 w 8114398"/>
              <a:gd name="connsiteY85" fmla="*/ 850897 h 6857998"/>
              <a:gd name="connsiteX86" fmla="*/ 371472 w 8114398"/>
              <a:gd name="connsiteY86" fmla="*/ 850897 h 6857998"/>
              <a:gd name="connsiteX87" fmla="*/ 343849 w 8114398"/>
              <a:gd name="connsiteY87" fmla="*/ 793747 h 6857998"/>
              <a:gd name="connsiteX88" fmla="*/ 238122 w 8114398"/>
              <a:gd name="connsiteY88" fmla="*/ 793747 h 6857998"/>
              <a:gd name="connsiteX89" fmla="*/ 238122 w 8114398"/>
              <a:gd name="connsiteY89" fmla="*/ 850897 h 6857998"/>
              <a:gd name="connsiteX90" fmla="*/ 278127 w 8114398"/>
              <a:gd name="connsiteY90" fmla="*/ 850897 h 6857998"/>
              <a:gd name="connsiteX91" fmla="*/ 295272 w 8114398"/>
              <a:gd name="connsiteY91" fmla="*/ 833752 h 6857998"/>
              <a:gd name="connsiteX92" fmla="*/ 289557 w 8114398"/>
              <a:gd name="connsiteY92" fmla="*/ 821369 h 6857998"/>
              <a:gd name="connsiteX93" fmla="*/ 293367 w 8114398"/>
              <a:gd name="connsiteY93" fmla="*/ 810892 h 6857998"/>
              <a:gd name="connsiteX94" fmla="*/ 277174 w 8114398"/>
              <a:gd name="connsiteY94" fmla="*/ 793747 h 6857998"/>
              <a:gd name="connsiteX95" fmla="*/ 238122 w 8114398"/>
              <a:gd name="connsiteY95" fmla="*/ 793747 h 6857998"/>
              <a:gd name="connsiteX96" fmla="*/ 394333 w 8114398"/>
              <a:gd name="connsiteY96" fmla="*/ 741360 h 6857998"/>
              <a:gd name="connsiteX97" fmla="*/ 404810 w 8114398"/>
              <a:gd name="connsiteY97" fmla="*/ 762315 h 6857998"/>
              <a:gd name="connsiteX98" fmla="*/ 384808 w 8114398"/>
              <a:gd name="connsiteY98" fmla="*/ 762315 h 6857998"/>
              <a:gd name="connsiteX99" fmla="*/ 388618 w 8114398"/>
              <a:gd name="connsiteY99" fmla="*/ 727073 h 6857998"/>
              <a:gd name="connsiteX100" fmla="*/ 361948 w 8114398"/>
              <a:gd name="connsiteY100" fmla="*/ 784223 h 6857998"/>
              <a:gd name="connsiteX101" fmla="*/ 375283 w 8114398"/>
              <a:gd name="connsiteY101" fmla="*/ 784223 h 6857998"/>
              <a:gd name="connsiteX102" fmla="*/ 380045 w 8114398"/>
              <a:gd name="connsiteY102" fmla="*/ 774698 h 6857998"/>
              <a:gd name="connsiteX103" fmla="*/ 409573 w 8114398"/>
              <a:gd name="connsiteY103" fmla="*/ 774698 h 6857998"/>
              <a:gd name="connsiteX104" fmla="*/ 414335 w 8114398"/>
              <a:gd name="connsiteY104" fmla="*/ 784223 h 6857998"/>
              <a:gd name="connsiteX105" fmla="*/ 428623 w 8114398"/>
              <a:gd name="connsiteY105" fmla="*/ 784223 h 6857998"/>
              <a:gd name="connsiteX106" fmla="*/ 401000 w 8114398"/>
              <a:gd name="connsiteY106" fmla="*/ 727073 h 6857998"/>
              <a:gd name="connsiteX107" fmla="*/ 384808 w 8114398"/>
              <a:gd name="connsiteY107" fmla="*/ 693735 h 6857998"/>
              <a:gd name="connsiteX108" fmla="*/ 409573 w 8114398"/>
              <a:gd name="connsiteY108" fmla="*/ 693735 h 6857998"/>
              <a:gd name="connsiteX109" fmla="*/ 415288 w 8114398"/>
              <a:gd name="connsiteY109" fmla="*/ 699450 h 6857998"/>
              <a:gd name="connsiteX110" fmla="*/ 409573 w 8114398"/>
              <a:gd name="connsiteY110" fmla="*/ 705165 h 6857998"/>
              <a:gd name="connsiteX111" fmla="*/ 384808 w 8114398"/>
              <a:gd name="connsiteY111" fmla="*/ 705165 h 6857998"/>
              <a:gd name="connsiteX112" fmla="*/ 384808 w 8114398"/>
              <a:gd name="connsiteY112" fmla="*/ 672780 h 6857998"/>
              <a:gd name="connsiteX113" fmla="*/ 408620 w 8114398"/>
              <a:gd name="connsiteY113" fmla="*/ 672780 h 6857998"/>
              <a:gd name="connsiteX114" fmla="*/ 413383 w 8114398"/>
              <a:gd name="connsiteY114" fmla="*/ 677543 h 6857998"/>
              <a:gd name="connsiteX115" fmla="*/ 408620 w 8114398"/>
              <a:gd name="connsiteY115" fmla="*/ 682305 h 6857998"/>
              <a:gd name="connsiteX116" fmla="*/ 384808 w 8114398"/>
              <a:gd name="connsiteY116" fmla="*/ 682305 h 6857998"/>
              <a:gd name="connsiteX117" fmla="*/ 371473 w 8114398"/>
              <a:gd name="connsiteY117" fmla="*/ 660398 h 6857998"/>
              <a:gd name="connsiteX118" fmla="*/ 371473 w 8114398"/>
              <a:gd name="connsiteY118" fmla="*/ 717548 h 6857998"/>
              <a:gd name="connsiteX119" fmla="*/ 411478 w 8114398"/>
              <a:gd name="connsiteY119" fmla="*/ 717548 h 6857998"/>
              <a:gd name="connsiteX120" fmla="*/ 428623 w 8114398"/>
              <a:gd name="connsiteY120" fmla="*/ 700403 h 6857998"/>
              <a:gd name="connsiteX121" fmla="*/ 422908 w 8114398"/>
              <a:gd name="connsiteY121" fmla="*/ 688020 h 6857998"/>
              <a:gd name="connsiteX122" fmla="*/ 427670 w 8114398"/>
              <a:gd name="connsiteY122" fmla="*/ 676590 h 6857998"/>
              <a:gd name="connsiteX123" fmla="*/ 410525 w 8114398"/>
              <a:gd name="connsiteY123" fmla="*/ 660398 h 6857998"/>
              <a:gd name="connsiteX124" fmla="*/ 371473 w 8114398"/>
              <a:gd name="connsiteY124" fmla="*/ 660398 h 6857998"/>
              <a:gd name="connsiteX125" fmla="*/ 400049 w 8114398"/>
              <a:gd name="connsiteY125" fmla="*/ 644683 h 6857998"/>
              <a:gd name="connsiteX126" fmla="*/ 575309 w 8114398"/>
              <a:gd name="connsiteY126" fmla="*/ 822800 h 6857998"/>
              <a:gd name="connsiteX127" fmla="*/ 400049 w 8114398"/>
              <a:gd name="connsiteY127" fmla="*/ 996155 h 6857998"/>
              <a:gd name="connsiteX128" fmla="*/ 224789 w 8114398"/>
              <a:gd name="connsiteY128" fmla="*/ 819943 h 6857998"/>
              <a:gd name="connsiteX129" fmla="*/ 400049 w 8114398"/>
              <a:gd name="connsiteY129" fmla="*/ 644683 h 6857998"/>
              <a:gd name="connsiteX130" fmla="*/ 400049 w 8114398"/>
              <a:gd name="connsiteY130" fmla="*/ 619918 h 6857998"/>
              <a:gd name="connsiteX131" fmla="*/ 200024 w 8114398"/>
              <a:gd name="connsiteY131" fmla="*/ 819943 h 6857998"/>
              <a:gd name="connsiteX132" fmla="*/ 400049 w 8114398"/>
              <a:gd name="connsiteY132" fmla="*/ 1019968 h 6857998"/>
              <a:gd name="connsiteX133" fmla="*/ 600074 w 8114398"/>
              <a:gd name="connsiteY133" fmla="*/ 819943 h 6857998"/>
              <a:gd name="connsiteX134" fmla="*/ 400049 w 8114398"/>
              <a:gd name="connsiteY134" fmla="*/ 619918 h 6857998"/>
              <a:gd name="connsiteX135" fmla="*/ 6285641 w 8114398"/>
              <a:gd name="connsiteY135" fmla="*/ 0 h 6857998"/>
              <a:gd name="connsiteX136" fmla="*/ 8114398 w 8114398"/>
              <a:gd name="connsiteY136" fmla="*/ 0 h 6857998"/>
              <a:gd name="connsiteX137" fmla="*/ 8114398 w 8114398"/>
              <a:gd name="connsiteY137" fmla="*/ 6857998 h 6857998"/>
              <a:gd name="connsiteX138" fmla="*/ 3780054 w 8114398"/>
              <a:gd name="connsiteY138" fmla="*/ 6857998 h 6857998"/>
              <a:gd name="connsiteX139" fmla="*/ 0 w 8114398"/>
              <a:gd name="connsiteY139" fmla="*/ 0 h 6857998"/>
              <a:gd name="connsiteX140" fmla="*/ 6266477 w 8114398"/>
              <a:gd name="connsiteY140" fmla="*/ 0 h 6857998"/>
              <a:gd name="connsiteX141" fmla="*/ 3760890 w 8114398"/>
              <a:gd name="connsiteY141" fmla="*/ 6857998 h 6857998"/>
              <a:gd name="connsiteX142" fmla="*/ 0 w 8114398"/>
              <a:gd name="connsiteY142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8114398" h="6857998">
                <a:moveTo>
                  <a:pt x="385599" y="941860"/>
                </a:moveTo>
                <a:cubicBezTo>
                  <a:pt x="385599" y="941860"/>
                  <a:pt x="385599" y="941860"/>
                  <a:pt x="405601" y="941860"/>
                </a:cubicBezTo>
                <a:cubicBezTo>
                  <a:pt x="408459" y="941860"/>
                  <a:pt x="411316" y="944718"/>
                  <a:pt x="411316" y="946623"/>
                </a:cubicBezTo>
                <a:cubicBezTo>
                  <a:pt x="411316" y="950433"/>
                  <a:pt x="408459" y="952338"/>
                  <a:pt x="405601" y="952338"/>
                </a:cubicBezTo>
                <a:cubicBezTo>
                  <a:pt x="405601" y="952338"/>
                  <a:pt x="405601" y="952338"/>
                  <a:pt x="385599" y="952338"/>
                </a:cubicBezTo>
                <a:cubicBezTo>
                  <a:pt x="385599" y="952338"/>
                  <a:pt x="385599" y="952338"/>
                  <a:pt x="385599" y="941860"/>
                </a:cubicBezTo>
                <a:close/>
                <a:moveTo>
                  <a:pt x="372264" y="929478"/>
                </a:moveTo>
                <a:cubicBezTo>
                  <a:pt x="372264" y="929478"/>
                  <a:pt x="372264" y="929478"/>
                  <a:pt x="372264" y="986628"/>
                </a:cubicBezTo>
                <a:cubicBezTo>
                  <a:pt x="372264" y="986628"/>
                  <a:pt x="372264" y="986628"/>
                  <a:pt x="385599" y="986628"/>
                </a:cubicBezTo>
                <a:cubicBezTo>
                  <a:pt x="385599" y="986628"/>
                  <a:pt x="385599" y="986628"/>
                  <a:pt x="385599" y="964720"/>
                </a:cubicBezTo>
                <a:cubicBezTo>
                  <a:pt x="385599" y="964720"/>
                  <a:pt x="385599" y="964720"/>
                  <a:pt x="396076" y="964720"/>
                </a:cubicBezTo>
                <a:lnTo>
                  <a:pt x="413221" y="986628"/>
                </a:lnTo>
                <a:cubicBezTo>
                  <a:pt x="413221" y="986628"/>
                  <a:pt x="413221" y="986628"/>
                  <a:pt x="429414" y="986628"/>
                </a:cubicBezTo>
                <a:cubicBezTo>
                  <a:pt x="429414" y="986628"/>
                  <a:pt x="429414" y="986628"/>
                  <a:pt x="413221" y="964720"/>
                </a:cubicBezTo>
                <a:cubicBezTo>
                  <a:pt x="419889" y="962815"/>
                  <a:pt x="425604" y="956148"/>
                  <a:pt x="425604" y="947575"/>
                </a:cubicBezTo>
                <a:cubicBezTo>
                  <a:pt x="425604" y="937098"/>
                  <a:pt x="417031" y="929478"/>
                  <a:pt x="407506" y="929478"/>
                </a:cubicBezTo>
                <a:cubicBezTo>
                  <a:pt x="407506" y="929478"/>
                  <a:pt x="407506" y="929478"/>
                  <a:pt x="372264" y="929478"/>
                </a:cubicBezTo>
                <a:close/>
                <a:moveTo>
                  <a:pt x="371472" y="860422"/>
                </a:moveTo>
                <a:lnTo>
                  <a:pt x="371472" y="917572"/>
                </a:lnTo>
                <a:lnTo>
                  <a:pt x="419097" y="917572"/>
                </a:lnTo>
                <a:lnTo>
                  <a:pt x="419097" y="906142"/>
                </a:lnTo>
                <a:lnTo>
                  <a:pt x="383854" y="906142"/>
                </a:lnTo>
                <a:lnTo>
                  <a:pt x="383854" y="893759"/>
                </a:lnTo>
                <a:lnTo>
                  <a:pt x="417192" y="893759"/>
                </a:lnTo>
                <a:lnTo>
                  <a:pt x="417192" y="882329"/>
                </a:lnTo>
                <a:lnTo>
                  <a:pt x="383854" y="882329"/>
                </a:lnTo>
                <a:lnTo>
                  <a:pt x="383854" y="871852"/>
                </a:lnTo>
                <a:lnTo>
                  <a:pt x="419097" y="871852"/>
                </a:lnTo>
                <a:lnTo>
                  <a:pt x="419097" y="860422"/>
                </a:lnTo>
                <a:close/>
                <a:moveTo>
                  <a:pt x="251457" y="827084"/>
                </a:moveTo>
                <a:cubicBezTo>
                  <a:pt x="251457" y="827084"/>
                  <a:pt x="251457" y="827084"/>
                  <a:pt x="276222" y="827084"/>
                </a:cubicBezTo>
                <a:cubicBezTo>
                  <a:pt x="279079" y="827084"/>
                  <a:pt x="281937" y="829942"/>
                  <a:pt x="281937" y="832799"/>
                </a:cubicBezTo>
                <a:cubicBezTo>
                  <a:pt x="281937" y="836609"/>
                  <a:pt x="279079" y="838514"/>
                  <a:pt x="276222" y="838514"/>
                </a:cubicBezTo>
                <a:cubicBezTo>
                  <a:pt x="276222" y="838514"/>
                  <a:pt x="276222" y="838514"/>
                  <a:pt x="251457" y="838514"/>
                </a:cubicBezTo>
                <a:close/>
                <a:moveTo>
                  <a:pt x="337182" y="808034"/>
                </a:moveTo>
                <a:lnTo>
                  <a:pt x="346707" y="828989"/>
                </a:lnTo>
                <a:lnTo>
                  <a:pt x="327658" y="828989"/>
                </a:lnTo>
                <a:close/>
                <a:moveTo>
                  <a:pt x="518158" y="806129"/>
                </a:moveTo>
                <a:cubicBezTo>
                  <a:pt x="518158" y="806129"/>
                  <a:pt x="518158" y="806129"/>
                  <a:pt x="538160" y="806129"/>
                </a:cubicBezTo>
                <a:cubicBezTo>
                  <a:pt x="541018" y="806129"/>
                  <a:pt x="543875" y="808987"/>
                  <a:pt x="543875" y="810892"/>
                </a:cubicBezTo>
                <a:cubicBezTo>
                  <a:pt x="543875" y="814702"/>
                  <a:pt x="541018" y="816608"/>
                  <a:pt x="538160" y="816608"/>
                </a:cubicBezTo>
                <a:cubicBezTo>
                  <a:pt x="538160" y="816608"/>
                  <a:pt x="538160" y="816608"/>
                  <a:pt x="518158" y="816608"/>
                </a:cubicBezTo>
                <a:cubicBezTo>
                  <a:pt x="518158" y="816608"/>
                  <a:pt x="518158" y="816608"/>
                  <a:pt x="518158" y="806129"/>
                </a:cubicBezTo>
                <a:close/>
                <a:moveTo>
                  <a:pt x="251457" y="806129"/>
                </a:moveTo>
                <a:cubicBezTo>
                  <a:pt x="251457" y="806129"/>
                  <a:pt x="251457" y="806129"/>
                  <a:pt x="275269" y="806129"/>
                </a:cubicBezTo>
                <a:cubicBezTo>
                  <a:pt x="278127" y="806129"/>
                  <a:pt x="280032" y="808034"/>
                  <a:pt x="280032" y="810892"/>
                </a:cubicBezTo>
                <a:cubicBezTo>
                  <a:pt x="280032" y="813749"/>
                  <a:pt x="278127" y="815654"/>
                  <a:pt x="275269" y="815654"/>
                </a:cubicBezTo>
                <a:cubicBezTo>
                  <a:pt x="275269" y="815654"/>
                  <a:pt x="275269" y="815654"/>
                  <a:pt x="251457" y="815654"/>
                </a:cubicBezTo>
                <a:close/>
                <a:moveTo>
                  <a:pt x="361948" y="793748"/>
                </a:moveTo>
                <a:lnTo>
                  <a:pt x="388618" y="830895"/>
                </a:lnTo>
                <a:lnTo>
                  <a:pt x="388618" y="850898"/>
                </a:lnTo>
                <a:lnTo>
                  <a:pt x="401953" y="850898"/>
                </a:lnTo>
                <a:lnTo>
                  <a:pt x="401953" y="830895"/>
                </a:lnTo>
                <a:lnTo>
                  <a:pt x="428623" y="793748"/>
                </a:lnTo>
                <a:lnTo>
                  <a:pt x="413383" y="793748"/>
                </a:lnTo>
                <a:lnTo>
                  <a:pt x="394333" y="819465"/>
                </a:lnTo>
                <a:lnTo>
                  <a:pt x="377188" y="793748"/>
                </a:lnTo>
                <a:close/>
                <a:moveTo>
                  <a:pt x="438148" y="793748"/>
                </a:moveTo>
                <a:lnTo>
                  <a:pt x="438148" y="850898"/>
                </a:lnTo>
                <a:lnTo>
                  <a:pt x="495298" y="850898"/>
                </a:lnTo>
                <a:lnTo>
                  <a:pt x="495298" y="839468"/>
                </a:lnTo>
                <a:lnTo>
                  <a:pt x="452435" y="839468"/>
                </a:lnTo>
                <a:lnTo>
                  <a:pt x="452435" y="828038"/>
                </a:lnTo>
                <a:lnTo>
                  <a:pt x="493393" y="828038"/>
                </a:lnTo>
                <a:lnTo>
                  <a:pt x="493393" y="816608"/>
                </a:lnTo>
                <a:lnTo>
                  <a:pt x="452435" y="816608"/>
                </a:lnTo>
                <a:lnTo>
                  <a:pt x="452435" y="807083"/>
                </a:lnTo>
                <a:lnTo>
                  <a:pt x="495298" y="807083"/>
                </a:lnTo>
                <a:lnTo>
                  <a:pt x="495298" y="793748"/>
                </a:lnTo>
                <a:close/>
                <a:moveTo>
                  <a:pt x="504823" y="793747"/>
                </a:moveTo>
                <a:cubicBezTo>
                  <a:pt x="504823" y="793747"/>
                  <a:pt x="504823" y="793747"/>
                  <a:pt x="504823" y="850897"/>
                </a:cubicBezTo>
                <a:cubicBezTo>
                  <a:pt x="504823" y="850897"/>
                  <a:pt x="504823" y="850897"/>
                  <a:pt x="518158" y="850897"/>
                </a:cubicBezTo>
                <a:cubicBezTo>
                  <a:pt x="518158" y="850897"/>
                  <a:pt x="518158" y="850897"/>
                  <a:pt x="518158" y="828989"/>
                </a:cubicBezTo>
                <a:cubicBezTo>
                  <a:pt x="518158" y="828989"/>
                  <a:pt x="518158" y="828989"/>
                  <a:pt x="528635" y="828989"/>
                </a:cubicBezTo>
                <a:lnTo>
                  <a:pt x="545780" y="850897"/>
                </a:lnTo>
                <a:cubicBezTo>
                  <a:pt x="545780" y="850897"/>
                  <a:pt x="545780" y="850897"/>
                  <a:pt x="561973" y="850897"/>
                </a:cubicBezTo>
                <a:cubicBezTo>
                  <a:pt x="561973" y="850897"/>
                  <a:pt x="561973" y="850897"/>
                  <a:pt x="545780" y="828989"/>
                </a:cubicBezTo>
                <a:cubicBezTo>
                  <a:pt x="552448" y="827084"/>
                  <a:pt x="558163" y="820417"/>
                  <a:pt x="558163" y="811844"/>
                </a:cubicBezTo>
                <a:cubicBezTo>
                  <a:pt x="558163" y="801368"/>
                  <a:pt x="549590" y="793747"/>
                  <a:pt x="540065" y="793747"/>
                </a:cubicBezTo>
                <a:cubicBezTo>
                  <a:pt x="540065" y="793747"/>
                  <a:pt x="540065" y="793747"/>
                  <a:pt x="504823" y="793747"/>
                </a:cubicBezTo>
                <a:close/>
                <a:moveTo>
                  <a:pt x="331468" y="793747"/>
                </a:moveTo>
                <a:lnTo>
                  <a:pt x="304798" y="850897"/>
                </a:lnTo>
                <a:lnTo>
                  <a:pt x="319084" y="850897"/>
                </a:lnTo>
                <a:lnTo>
                  <a:pt x="321943" y="841372"/>
                </a:lnTo>
                <a:lnTo>
                  <a:pt x="352422" y="841372"/>
                </a:lnTo>
                <a:lnTo>
                  <a:pt x="357184" y="850897"/>
                </a:lnTo>
                <a:lnTo>
                  <a:pt x="371472" y="850897"/>
                </a:lnTo>
                <a:lnTo>
                  <a:pt x="343849" y="793747"/>
                </a:lnTo>
                <a:close/>
                <a:moveTo>
                  <a:pt x="238122" y="793747"/>
                </a:moveTo>
                <a:cubicBezTo>
                  <a:pt x="238122" y="793747"/>
                  <a:pt x="238122" y="793747"/>
                  <a:pt x="238122" y="850897"/>
                </a:cubicBezTo>
                <a:cubicBezTo>
                  <a:pt x="238122" y="850897"/>
                  <a:pt x="238122" y="850897"/>
                  <a:pt x="278127" y="850897"/>
                </a:cubicBezTo>
                <a:cubicBezTo>
                  <a:pt x="287652" y="850897"/>
                  <a:pt x="295272" y="843277"/>
                  <a:pt x="295272" y="833752"/>
                </a:cubicBezTo>
                <a:cubicBezTo>
                  <a:pt x="295272" y="828989"/>
                  <a:pt x="293367" y="824227"/>
                  <a:pt x="289557" y="821369"/>
                </a:cubicBezTo>
                <a:cubicBezTo>
                  <a:pt x="292414" y="818512"/>
                  <a:pt x="293367" y="814702"/>
                  <a:pt x="293367" y="810892"/>
                </a:cubicBezTo>
                <a:cubicBezTo>
                  <a:pt x="293367" y="801367"/>
                  <a:pt x="286699" y="793747"/>
                  <a:pt x="277174" y="793747"/>
                </a:cubicBezTo>
                <a:cubicBezTo>
                  <a:pt x="277174" y="793747"/>
                  <a:pt x="277174" y="793747"/>
                  <a:pt x="238122" y="793747"/>
                </a:cubicBezTo>
                <a:close/>
                <a:moveTo>
                  <a:pt x="394333" y="741360"/>
                </a:moveTo>
                <a:lnTo>
                  <a:pt x="404810" y="762315"/>
                </a:lnTo>
                <a:lnTo>
                  <a:pt x="384808" y="762315"/>
                </a:lnTo>
                <a:close/>
                <a:moveTo>
                  <a:pt x="388618" y="727073"/>
                </a:moveTo>
                <a:lnTo>
                  <a:pt x="361948" y="784223"/>
                </a:lnTo>
                <a:lnTo>
                  <a:pt x="375283" y="784223"/>
                </a:lnTo>
                <a:lnTo>
                  <a:pt x="380045" y="774698"/>
                </a:lnTo>
                <a:lnTo>
                  <a:pt x="409573" y="774698"/>
                </a:lnTo>
                <a:lnTo>
                  <a:pt x="414335" y="784223"/>
                </a:lnTo>
                <a:lnTo>
                  <a:pt x="428623" y="784223"/>
                </a:lnTo>
                <a:lnTo>
                  <a:pt x="401000" y="727073"/>
                </a:lnTo>
                <a:close/>
                <a:moveTo>
                  <a:pt x="384808" y="693735"/>
                </a:moveTo>
                <a:cubicBezTo>
                  <a:pt x="384808" y="693735"/>
                  <a:pt x="384808" y="693735"/>
                  <a:pt x="409573" y="693735"/>
                </a:cubicBezTo>
                <a:cubicBezTo>
                  <a:pt x="412430" y="693735"/>
                  <a:pt x="415288" y="696593"/>
                  <a:pt x="415288" y="699450"/>
                </a:cubicBezTo>
                <a:cubicBezTo>
                  <a:pt x="415288" y="703260"/>
                  <a:pt x="412430" y="705165"/>
                  <a:pt x="409573" y="705165"/>
                </a:cubicBezTo>
                <a:cubicBezTo>
                  <a:pt x="409573" y="705165"/>
                  <a:pt x="409573" y="705165"/>
                  <a:pt x="384808" y="705165"/>
                </a:cubicBezTo>
                <a:close/>
                <a:moveTo>
                  <a:pt x="384808" y="672780"/>
                </a:moveTo>
                <a:cubicBezTo>
                  <a:pt x="384808" y="672780"/>
                  <a:pt x="384808" y="672780"/>
                  <a:pt x="408620" y="672780"/>
                </a:cubicBezTo>
                <a:cubicBezTo>
                  <a:pt x="411478" y="672780"/>
                  <a:pt x="413383" y="674685"/>
                  <a:pt x="413383" y="677543"/>
                </a:cubicBezTo>
                <a:cubicBezTo>
                  <a:pt x="413383" y="680400"/>
                  <a:pt x="411478" y="682305"/>
                  <a:pt x="408620" y="682305"/>
                </a:cubicBezTo>
                <a:cubicBezTo>
                  <a:pt x="408620" y="682305"/>
                  <a:pt x="408620" y="682305"/>
                  <a:pt x="384808" y="682305"/>
                </a:cubicBezTo>
                <a:close/>
                <a:moveTo>
                  <a:pt x="371473" y="660398"/>
                </a:moveTo>
                <a:cubicBezTo>
                  <a:pt x="371473" y="660398"/>
                  <a:pt x="371473" y="660398"/>
                  <a:pt x="371473" y="717548"/>
                </a:cubicBezTo>
                <a:cubicBezTo>
                  <a:pt x="371473" y="717548"/>
                  <a:pt x="371473" y="717548"/>
                  <a:pt x="411478" y="717548"/>
                </a:cubicBezTo>
                <a:cubicBezTo>
                  <a:pt x="421003" y="717548"/>
                  <a:pt x="428623" y="709928"/>
                  <a:pt x="428623" y="700403"/>
                </a:cubicBezTo>
                <a:cubicBezTo>
                  <a:pt x="428623" y="695640"/>
                  <a:pt x="426718" y="690878"/>
                  <a:pt x="422908" y="688020"/>
                </a:cubicBezTo>
                <a:cubicBezTo>
                  <a:pt x="425765" y="685163"/>
                  <a:pt x="427670" y="681353"/>
                  <a:pt x="427670" y="676590"/>
                </a:cubicBezTo>
                <a:cubicBezTo>
                  <a:pt x="427670" y="668018"/>
                  <a:pt x="420050" y="660398"/>
                  <a:pt x="410525" y="660398"/>
                </a:cubicBezTo>
                <a:cubicBezTo>
                  <a:pt x="410525" y="660398"/>
                  <a:pt x="410525" y="660398"/>
                  <a:pt x="371473" y="660398"/>
                </a:cubicBezTo>
                <a:close/>
                <a:moveTo>
                  <a:pt x="400049" y="644683"/>
                </a:moveTo>
                <a:cubicBezTo>
                  <a:pt x="500061" y="644683"/>
                  <a:pt x="575309" y="721835"/>
                  <a:pt x="575309" y="822800"/>
                </a:cubicBezTo>
                <a:cubicBezTo>
                  <a:pt x="575309" y="922813"/>
                  <a:pt x="500061" y="996155"/>
                  <a:pt x="400049" y="996155"/>
                </a:cubicBezTo>
                <a:cubicBezTo>
                  <a:pt x="300036" y="996155"/>
                  <a:pt x="224789" y="919955"/>
                  <a:pt x="224789" y="819943"/>
                </a:cubicBezTo>
                <a:cubicBezTo>
                  <a:pt x="224789" y="719930"/>
                  <a:pt x="300036" y="644683"/>
                  <a:pt x="400049" y="644683"/>
                </a:cubicBezTo>
                <a:close/>
                <a:moveTo>
                  <a:pt x="400049" y="619918"/>
                </a:moveTo>
                <a:cubicBezTo>
                  <a:pt x="289559" y="619918"/>
                  <a:pt x="200024" y="709453"/>
                  <a:pt x="200024" y="819943"/>
                </a:cubicBezTo>
                <a:cubicBezTo>
                  <a:pt x="200024" y="930433"/>
                  <a:pt x="289559" y="1019968"/>
                  <a:pt x="400049" y="1019968"/>
                </a:cubicBezTo>
                <a:cubicBezTo>
                  <a:pt x="510539" y="1019968"/>
                  <a:pt x="600074" y="930433"/>
                  <a:pt x="600074" y="819943"/>
                </a:cubicBezTo>
                <a:cubicBezTo>
                  <a:pt x="600074" y="709453"/>
                  <a:pt x="510539" y="619918"/>
                  <a:pt x="400049" y="619918"/>
                </a:cubicBezTo>
                <a:close/>
                <a:moveTo>
                  <a:pt x="6285641" y="0"/>
                </a:moveTo>
                <a:lnTo>
                  <a:pt x="8114398" y="0"/>
                </a:lnTo>
                <a:lnTo>
                  <a:pt x="8114398" y="6857998"/>
                </a:lnTo>
                <a:lnTo>
                  <a:pt x="3780054" y="6857998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2F8C671-FCED-47EE-98C9-6A63338A68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337080" y="0"/>
            <a:ext cx="7854920" cy="6858000"/>
          </a:xfrm>
          <a:custGeom>
            <a:avLst/>
            <a:gdLst>
              <a:gd name="connsiteX0" fmla="*/ 1945592 w 7853898"/>
              <a:gd name="connsiteY0" fmla="*/ 0 h 6858000"/>
              <a:gd name="connsiteX1" fmla="*/ 3777198 w 7853898"/>
              <a:gd name="connsiteY1" fmla="*/ 0 h 6858000"/>
              <a:gd name="connsiteX2" fmla="*/ 4658260 w 7853898"/>
              <a:gd name="connsiteY2" fmla="*/ 0 h 6858000"/>
              <a:gd name="connsiteX3" fmla="*/ 7853898 w 7853898"/>
              <a:gd name="connsiteY3" fmla="*/ 0 h 6858000"/>
              <a:gd name="connsiteX4" fmla="*/ 7853898 w 7853898"/>
              <a:gd name="connsiteY4" fmla="*/ 6858000 h 6858000"/>
              <a:gd name="connsiteX5" fmla="*/ 4658260 w 7853898"/>
              <a:gd name="connsiteY5" fmla="*/ 6858000 h 6858000"/>
              <a:gd name="connsiteX6" fmla="*/ 3777198 w 7853898"/>
              <a:gd name="connsiteY6" fmla="*/ 6858000 h 6858000"/>
              <a:gd name="connsiteX7" fmla="*/ 1327085 w 7853898"/>
              <a:gd name="connsiteY7" fmla="*/ 6858000 h 6858000"/>
              <a:gd name="connsiteX8" fmla="*/ 0 w 7853898"/>
              <a:gd name="connsiteY8" fmla="*/ 6858000 h 6858000"/>
              <a:gd name="connsiteX9" fmla="*/ 631152 w 7853898"/>
              <a:gd name="connsiteY9" fmla="*/ 3597203 h 6858000"/>
              <a:gd name="connsiteX10" fmla="*/ 1327085 w 7853898"/>
              <a:gd name="connsiteY10" fmla="*/ 0 h 6858000"/>
              <a:gd name="connsiteX11" fmla="*/ 1926428 w 7853898"/>
              <a:gd name="connsiteY11" fmla="*/ 0 h 6858000"/>
              <a:gd name="connsiteX12" fmla="*/ 652736 w 7853898"/>
              <a:gd name="connsiteY12" fmla="*/ 3485687 h 6858000"/>
              <a:gd name="connsiteX13" fmla="*/ 1327085 w 7853898"/>
              <a:gd name="connsiteY13" fmla="*/ 1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853898" h="6858000">
                <a:moveTo>
                  <a:pt x="1945592" y="0"/>
                </a:moveTo>
                <a:lnTo>
                  <a:pt x="3777198" y="0"/>
                </a:lnTo>
                <a:lnTo>
                  <a:pt x="4658260" y="0"/>
                </a:lnTo>
                <a:lnTo>
                  <a:pt x="7853898" y="0"/>
                </a:lnTo>
                <a:lnTo>
                  <a:pt x="7853898" y="6858000"/>
                </a:lnTo>
                <a:lnTo>
                  <a:pt x="4658260" y="6858000"/>
                </a:lnTo>
                <a:lnTo>
                  <a:pt x="3777198" y="6858000"/>
                </a:lnTo>
                <a:lnTo>
                  <a:pt x="1327085" y="6858000"/>
                </a:lnTo>
                <a:lnTo>
                  <a:pt x="0" y="6858000"/>
                </a:lnTo>
                <a:lnTo>
                  <a:pt x="631152" y="3597203"/>
                </a:lnTo>
                <a:close/>
                <a:moveTo>
                  <a:pt x="1327085" y="0"/>
                </a:moveTo>
                <a:lnTo>
                  <a:pt x="1926428" y="0"/>
                </a:lnTo>
                <a:lnTo>
                  <a:pt x="652736" y="3485687"/>
                </a:lnTo>
                <a:lnTo>
                  <a:pt x="1327085" y="1712"/>
                </a:lnTo>
                <a:close/>
              </a:path>
            </a:pathLst>
          </a:custGeom>
          <a:gradFill>
            <a:gsLst>
              <a:gs pos="0">
                <a:srgbClr val="004422"/>
              </a:gs>
              <a:gs pos="54000">
                <a:srgbClr val="004422"/>
              </a:gs>
              <a:gs pos="100000">
                <a:srgbClr val="004422">
                  <a:alpha val="90000"/>
                </a:srgbClr>
              </a:gs>
            </a:gsLst>
            <a:lin ang="10800000" scaled="0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blackGray">
          <a:xfrm flipV="1">
            <a:off x="3768346" y="0"/>
            <a:ext cx="2507333" cy="68580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4B381BD6-5B9C-4D55-8E20-EDFC2D8DD1B0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MIO_VALID_LAYOUT" hidden="1">
            <a:extLst>
              <a:ext uri="{FF2B5EF4-FFF2-40B4-BE49-F238E27FC236}">
                <a16:creationId xmlns:a16="http://schemas.microsoft.com/office/drawing/2014/main" id="{31467912-1545-4993-9077-17D9670FB8B9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2B4303-08B3-4093-B75A-28E14949D5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81948" y="1138298"/>
            <a:ext cx="5222810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3C9942-1F1D-40F2-B346-46E7C3D4C76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Gray">
          <a:xfrm>
            <a:off x="6560457" y="1732750"/>
            <a:ext cx="522068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>
              <a:buFontTx/>
              <a:buBlip>
                <a:blip r:embed="rId2"/>
              </a:buBlip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62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Picture Placeholder 75">
            <a:extLst>
              <a:ext uri="{FF2B5EF4-FFF2-40B4-BE49-F238E27FC236}">
                <a16:creationId xmlns:a16="http://schemas.microsoft.com/office/drawing/2014/main" id="{1D218D80-89C3-4B77-B293-2B851257A2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" y="3"/>
            <a:ext cx="12191998" cy="68579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82C802FB-9335-4020-990C-4ECC211773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9523"/>
            <a:ext cx="6057826" cy="6877049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8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59 w 6057037"/>
              <a:gd name="connsiteY41" fmla="*/ 810895 h 6877049"/>
              <a:gd name="connsiteX42" fmla="*/ 538162 w 6057037"/>
              <a:gd name="connsiteY42" fmla="*/ 810895 h 6877049"/>
              <a:gd name="connsiteX43" fmla="*/ 543877 w 6057037"/>
              <a:gd name="connsiteY43" fmla="*/ 815658 h 6877049"/>
              <a:gd name="connsiteX44" fmla="*/ 538162 w 6057037"/>
              <a:gd name="connsiteY44" fmla="*/ 821373 h 6877049"/>
              <a:gd name="connsiteX45" fmla="*/ 518159 w 6057037"/>
              <a:gd name="connsiteY45" fmla="*/ 821373 h 6877049"/>
              <a:gd name="connsiteX46" fmla="*/ 518159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438150 w 6057037"/>
              <a:gd name="connsiteY52" fmla="*/ 798513 h 6877049"/>
              <a:gd name="connsiteX53" fmla="*/ 438150 w 6057037"/>
              <a:gd name="connsiteY53" fmla="*/ 855663 h 6877049"/>
              <a:gd name="connsiteX54" fmla="*/ 485775 w 6057037"/>
              <a:gd name="connsiteY54" fmla="*/ 855663 h 6877049"/>
              <a:gd name="connsiteX55" fmla="*/ 485775 w 6057037"/>
              <a:gd name="connsiteY55" fmla="*/ 844233 h 6877049"/>
              <a:gd name="connsiteX56" fmla="*/ 450532 w 6057037"/>
              <a:gd name="connsiteY56" fmla="*/ 844233 h 6877049"/>
              <a:gd name="connsiteX57" fmla="*/ 450532 w 6057037"/>
              <a:gd name="connsiteY57" fmla="*/ 831850 h 6877049"/>
              <a:gd name="connsiteX58" fmla="*/ 485775 w 6057037"/>
              <a:gd name="connsiteY58" fmla="*/ 831850 h 6877049"/>
              <a:gd name="connsiteX59" fmla="*/ 485775 w 6057037"/>
              <a:gd name="connsiteY59" fmla="*/ 820420 h 6877049"/>
              <a:gd name="connsiteX60" fmla="*/ 450532 w 6057037"/>
              <a:gd name="connsiteY60" fmla="*/ 820420 h 6877049"/>
              <a:gd name="connsiteX61" fmla="*/ 450532 w 6057037"/>
              <a:gd name="connsiteY61" fmla="*/ 809943 h 6877049"/>
              <a:gd name="connsiteX62" fmla="*/ 485775 w 6057037"/>
              <a:gd name="connsiteY62" fmla="*/ 809943 h 6877049"/>
              <a:gd name="connsiteX63" fmla="*/ 485775 w 6057037"/>
              <a:gd name="connsiteY63" fmla="*/ 798513 h 6877049"/>
              <a:gd name="connsiteX64" fmla="*/ 361950 w 6057037"/>
              <a:gd name="connsiteY64" fmla="*/ 798513 h 6877049"/>
              <a:gd name="connsiteX65" fmla="*/ 388620 w 6057037"/>
              <a:gd name="connsiteY65" fmla="*/ 835660 h 6877049"/>
              <a:gd name="connsiteX66" fmla="*/ 388620 w 6057037"/>
              <a:gd name="connsiteY66" fmla="*/ 855663 h 6877049"/>
              <a:gd name="connsiteX67" fmla="*/ 401955 w 6057037"/>
              <a:gd name="connsiteY67" fmla="*/ 855663 h 6877049"/>
              <a:gd name="connsiteX68" fmla="*/ 401955 w 6057037"/>
              <a:gd name="connsiteY68" fmla="*/ 835660 h 6877049"/>
              <a:gd name="connsiteX69" fmla="*/ 428625 w 6057037"/>
              <a:gd name="connsiteY69" fmla="*/ 798513 h 6877049"/>
              <a:gd name="connsiteX70" fmla="*/ 413385 w 6057037"/>
              <a:gd name="connsiteY70" fmla="*/ 798513 h 6877049"/>
              <a:gd name="connsiteX71" fmla="*/ 396240 w 6057037"/>
              <a:gd name="connsiteY71" fmla="*/ 823278 h 6877049"/>
              <a:gd name="connsiteX72" fmla="*/ 377190 w 6057037"/>
              <a:gd name="connsiteY72" fmla="*/ 798513 h 6877049"/>
              <a:gd name="connsiteX73" fmla="*/ 504824 w 6057037"/>
              <a:gd name="connsiteY73" fmla="*/ 798513 h 6877049"/>
              <a:gd name="connsiteX74" fmla="*/ 504824 w 6057037"/>
              <a:gd name="connsiteY74" fmla="*/ 855663 h 6877049"/>
              <a:gd name="connsiteX75" fmla="*/ 518159 w 6057037"/>
              <a:gd name="connsiteY75" fmla="*/ 855663 h 6877049"/>
              <a:gd name="connsiteX76" fmla="*/ 518159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30 w 6057037"/>
              <a:gd name="connsiteY80" fmla="*/ 833755 h 6877049"/>
              <a:gd name="connsiteX81" fmla="*/ 558165 w 6057037"/>
              <a:gd name="connsiteY81" fmla="*/ 816610 h 6877049"/>
              <a:gd name="connsiteX82" fmla="*/ 540067 w 6057037"/>
              <a:gd name="connsiteY82" fmla="*/ 798513 h 6877049"/>
              <a:gd name="connsiteX83" fmla="*/ 504824 w 6057037"/>
              <a:gd name="connsiteY83" fmla="*/ 798513 h 6877049"/>
              <a:gd name="connsiteX84" fmla="*/ 326707 w 6057037"/>
              <a:gd name="connsiteY84" fmla="*/ 798513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5 h 6877049"/>
              <a:gd name="connsiteX88" fmla="*/ 347662 w 6057037"/>
              <a:gd name="connsiteY88" fmla="*/ 845185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3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2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1 h 6877049"/>
              <a:gd name="connsiteX136" fmla="*/ 570871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2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5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5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8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59" y="810895"/>
                </a:moveTo>
                <a:cubicBezTo>
                  <a:pt x="518159" y="810895"/>
                  <a:pt x="518159" y="810895"/>
                  <a:pt x="538162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19" y="821373"/>
                  <a:pt x="538162" y="821373"/>
                </a:cubicBezTo>
                <a:cubicBezTo>
                  <a:pt x="538162" y="821373"/>
                  <a:pt x="538162" y="821373"/>
                  <a:pt x="518159" y="821373"/>
                </a:cubicBezTo>
                <a:cubicBezTo>
                  <a:pt x="518159" y="821373"/>
                  <a:pt x="518159" y="821373"/>
                  <a:pt x="518159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504824" y="798513"/>
                </a:moveTo>
                <a:cubicBezTo>
                  <a:pt x="504824" y="798513"/>
                  <a:pt x="504824" y="798513"/>
                  <a:pt x="504824" y="855663"/>
                </a:cubicBezTo>
                <a:cubicBezTo>
                  <a:pt x="504824" y="855663"/>
                  <a:pt x="504824" y="855663"/>
                  <a:pt x="518159" y="855663"/>
                </a:cubicBezTo>
                <a:cubicBezTo>
                  <a:pt x="518159" y="855663"/>
                  <a:pt x="518159" y="855663"/>
                  <a:pt x="518159" y="833755"/>
                </a:cubicBezTo>
                <a:cubicBezTo>
                  <a:pt x="518159" y="833755"/>
                  <a:pt x="518159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30" y="833755"/>
                </a:cubicBezTo>
                <a:cubicBezTo>
                  <a:pt x="552450" y="830898"/>
                  <a:pt x="558165" y="824230"/>
                  <a:pt x="558165" y="816610"/>
                </a:cubicBezTo>
                <a:cubicBezTo>
                  <a:pt x="558165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4" y="798513"/>
                </a:cubicBezTo>
                <a:close/>
                <a:moveTo>
                  <a:pt x="326707" y="798513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5"/>
                </a:lnTo>
                <a:lnTo>
                  <a:pt x="347662" y="845185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3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2" y="651618"/>
                  <a:pt x="520052" y="683540"/>
                  <a:pt x="556452" y="732650"/>
                </a:cubicBezTo>
                <a:cubicBezTo>
                  <a:pt x="566299" y="746068"/>
                  <a:pt x="574564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4" y="684370"/>
                  <a:pt x="462023" y="652463"/>
                  <a:pt x="396257" y="652463"/>
                </a:cubicBezTo>
                <a:cubicBezTo>
                  <a:pt x="488400" y="652463"/>
                  <a:pt x="564189" y="723990"/>
                  <a:pt x="570519" y="814451"/>
                </a:cubicBezTo>
                <a:cubicBezTo>
                  <a:pt x="570695" y="818483"/>
                  <a:pt x="570871" y="822515"/>
                  <a:pt x="570871" y="826722"/>
                </a:cubicBezTo>
                <a:cubicBezTo>
                  <a:pt x="570871" y="830755"/>
                  <a:pt x="570695" y="834962"/>
                  <a:pt x="570519" y="838994"/>
                </a:cubicBezTo>
                <a:cubicBezTo>
                  <a:pt x="564189" y="929279"/>
                  <a:pt x="488400" y="1000806"/>
                  <a:pt x="396257" y="1000806"/>
                </a:cubicBezTo>
                <a:cubicBezTo>
                  <a:pt x="330316" y="1000806"/>
                  <a:pt x="271936" y="969075"/>
                  <a:pt x="235712" y="919988"/>
                </a:cubicBezTo>
                <a:cubicBezTo>
                  <a:pt x="225776" y="906577"/>
                  <a:pt x="217512" y="891894"/>
                  <a:pt x="211203" y="876226"/>
                </a:cubicBezTo>
                <a:lnTo>
                  <a:pt x="211136" y="875965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5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5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004422"/>
              </a:gs>
              <a:gs pos="54000">
                <a:srgbClr val="004422">
                  <a:alpha val="92000"/>
                </a:srgbClr>
              </a:gs>
              <a:gs pos="100000">
                <a:srgbClr val="004422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4755364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4755364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980409" y="1732750"/>
            <a:ext cx="4756904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1331FD4-EA88-474F-B28A-D936852B8013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3768346" y="-20325"/>
            <a:ext cx="2507333" cy="68796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F368E06-E651-43DF-8459-70233C09131B}"/>
              </a:ext>
            </a:extLst>
          </p:cNvPr>
          <p:cNvGrpSpPr/>
          <p:nvPr userDrawn="1"/>
        </p:nvGrpSpPr>
        <p:grpSpPr>
          <a:xfrm>
            <a:off x="196876" y="617538"/>
            <a:ext cx="398515" cy="398462"/>
            <a:chOff x="196850" y="617538"/>
            <a:chExt cx="398463" cy="398462"/>
          </a:xfrm>
        </p:grpSpPr>
        <p:sp>
          <p:nvSpPr>
            <p:cNvPr id="77" name="Freeform 14">
              <a:extLst>
                <a:ext uri="{FF2B5EF4-FFF2-40B4-BE49-F238E27FC236}">
                  <a16:creationId xmlns:a16="http://schemas.microsoft.com/office/drawing/2014/main" id="{A8BD6A9D-3DE1-4AE7-A61E-D2D6E4FAE3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Freeform 15">
              <a:extLst>
                <a:ext uri="{FF2B5EF4-FFF2-40B4-BE49-F238E27FC236}">
                  <a16:creationId xmlns:a16="http://schemas.microsoft.com/office/drawing/2014/main" id="{90A4B927-099A-4A30-A5CE-83F6359EC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CBB84282-7173-4ABE-AA77-C364CC103371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2468611-14ED-4059-A4A1-38E6F55150E4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2E56C6D-8FF0-4CB3-97CD-D56D796D74BA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EE17AD4-992C-4E2E-B2A3-780E7B1025EE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76EDDD6-D502-41C5-A2D5-9E1A2DBC2DEE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7D4DC8E-4291-46B6-8E96-0A15F4632844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ACD8AD08-96BD-457C-A4F1-F594CCC9211A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BFE4650-F4B6-42F9-A33B-352ED7C289EB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76605BD5-8751-4F6A-9EDE-721BC47CD945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3" name="MIO_VALID_LAYOUT" hidden="1">
            <a:extLst>
              <a:ext uri="{FF2B5EF4-FFF2-40B4-BE49-F238E27FC236}">
                <a16:creationId xmlns:a16="http://schemas.microsoft.com/office/drawing/2014/main" id="{B4A897D4-A39B-40F0-8580-73F5A5D7F8FC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1916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299A45BA-9F55-487F-A97C-3365E7029F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" y="3"/>
            <a:ext cx="12191998" cy="68579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406D9B9-4C34-49DD-855E-0713BD3AF14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9523"/>
            <a:ext cx="6057826" cy="6877049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7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60 w 6057037"/>
              <a:gd name="connsiteY41" fmla="*/ 810895 h 6877049"/>
              <a:gd name="connsiteX42" fmla="*/ 538161 w 6057037"/>
              <a:gd name="connsiteY42" fmla="*/ 810895 h 6877049"/>
              <a:gd name="connsiteX43" fmla="*/ 543877 w 6057037"/>
              <a:gd name="connsiteY43" fmla="*/ 815658 h 6877049"/>
              <a:gd name="connsiteX44" fmla="*/ 538161 w 6057037"/>
              <a:gd name="connsiteY44" fmla="*/ 821373 h 6877049"/>
              <a:gd name="connsiteX45" fmla="*/ 518160 w 6057037"/>
              <a:gd name="connsiteY45" fmla="*/ 821373 h 6877049"/>
              <a:gd name="connsiteX46" fmla="*/ 518160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361950 w 6057037"/>
              <a:gd name="connsiteY52" fmla="*/ 798513 h 6877049"/>
              <a:gd name="connsiteX53" fmla="*/ 388620 w 6057037"/>
              <a:gd name="connsiteY53" fmla="*/ 835660 h 6877049"/>
              <a:gd name="connsiteX54" fmla="*/ 388620 w 6057037"/>
              <a:gd name="connsiteY54" fmla="*/ 855663 h 6877049"/>
              <a:gd name="connsiteX55" fmla="*/ 401955 w 6057037"/>
              <a:gd name="connsiteY55" fmla="*/ 855663 h 6877049"/>
              <a:gd name="connsiteX56" fmla="*/ 401955 w 6057037"/>
              <a:gd name="connsiteY56" fmla="*/ 835660 h 6877049"/>
              <a:gd name="connsiteX57" fmla="*/ 428625 w 6057037"/>
              <a:gd name="connsiteY57" fmla="*/ 798513 h 6877049"/>
              <a:gd name="connsiteX58" fmla="*/ 413385 w 6057037"/>
              <a:gd name="connsiteY58" fmla="*/ 798513 h 6877049"/>
              <a:gd name="connsiteX59" fmla="*/ 396240 w 6057037"/>
              <a:gd name="connsiteY59" fmla="*/ 823278 h 6877049"/>
              <a:gd name="connsiteX60" fmla="*/ 377190 w 6057037"/>
              <a:gd name="connsiteY60" fmla="*/ 798513 h 6877049"/>
              <a:gd name="connsiteX61" fmla="*/ 438150 w 6057037"/>
              <a:gd name="connsiteY61" fmla="*/ 798513 h 6877049"/>
              <a:gd name="connsiteX62" fmla="*/ 438150 w 6057037"/>
              <a:gd name="connsiteY62" fmla="*/ 855663 h 6877049"/>
              <a:gd name="connsiteX63" fmla="*/ 485775 w 6057037"/>
              <a:gd name="connsiteY63" fmla="*/ 855663 h 6877049"/>
              <a:gd name="connsiteX64" fmla="*/ 485775 w 6057037"/>
              <a:gd name="connsiteY64" fmla="*/ 844233 h 6877049"/>
              <a:gd name="connsiteX65" fmla="*/ 450532 w 6057037"/>
              <a:gd name="connsiteY65" fmla="*/ 844233 h 6877049"/>
              <a:gd name="connsiteX66" fmla="*/ 450532 w 6057037"/>
              <a:gd name="connsiteY66" fmla="*/ 831850 h 6877049"/>
              <a:gd name="connsiteX67" fmla="*/ 485775 w 6057037"/>
              <a:gd name="connsiteY67" fmla="*/ 831850 h 6877049"/>
              <a:gd name="connsiteX68" fmla="*/ 485775 w 6057037"/>
              <a:gd name="connsiteY68" fmla="*/ 820420 h 6877049"/>
              <a:gd name="connsiteX69" fmla="*/ 450532 w 6057037"/>
              <a:gd name="connsiteY69" fmla="*/ 820420 h 6877049"/>
              <a:gd name="connsiteX70" fmla="*/ 450532 w 6057037"/>
              <a:gd name="connsiteY70" fmla="*/ 809943 h 6877049"/>
              <a:gd name="connsiteX71" fmla="*/ 485775 w 6057037"/>
              <a:gd name="connsiteY71" fmla="*/ 809943 h 6877049"/>
              <a:gd name="connsiteX72" fmla="*/ 485775 w 6057037"/>
              <a:gd name="connsiteY72" fmla="*/ 798513 h 6877049"/>
              <a:gd name="connsiteX73" fmla="*/ 504825 w 6057037"/>
              <a:gd name="connsiteY73" fmla="*/ 798513 h 6877049"/>
              <a:gd name="connsiteX74" fmla="*/ 504825 w 6057037"/>
              <a:gd name="connsiteY74" fmla="*/ 855663 h 6877049"/>
              <a:gd name="connsiteX75" fmla="*/ 518160 w 6057037"/>
              <a:gd name="connsiteY75" fmla="*/ 855663 h 6877049"/>
              <a:gd name="connsiteX76" fmla="*/ 518160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29 w 6057037"/>
              <a:gd name="connsiteY80" fmla="*/ 833755 h 6877049"/>
              <a:gd name="connsiteX81" fmla="*/ 558164 w 6057037"/>
              <a:gd name="connsiteY81" fmla="*/ 816610 h 6877049"/>
              <a:gd name="connsiteX82" fmla="*/ 540067 w 6057037"/>
              <a:gd name="connsiteY82" fmla="*/ 798513 h 6877049"/>
              <a:gd name="connsiteX83" fmla="*/ 504825 w 6057037"/>
              <a:gd name="connsiteY83" fmla="*/ 798513 h 6877049"/>
              <a:gd name="connsiteX84" fmla="*/ 326707 w 6057037"/>
              <a:gd name="connsiteY84" fmla="*/ 798512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4 h 6877049"/>
              <a:gd name="connsiteX88" fmla="*/ 347662 w 6057037"/>
              <a:gd name="connsiteY88" fmla="*/ 845184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2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1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0 h 6877049"/>
              <a:gd name="connsiteX136" fmla="*/ 570870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1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4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7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7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60" y="810895"/>
                </a:moveTo>
                <a:cubicBezTo>
                  <a:pt x="518160" y="810895"/>
                  <a:pt x="518160" y="810895"/>
                  <a:pt x="538161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20" y="821373"/>
                  <a:pt x="538161" y="821373"/>
                </a:cubicBezTo>
                <a:cubicBezTo>
                  <a:pt x="538161" y="821373"/>
                  <a:pt x="538161" y="821373"/>
                  <a:pt x="518160" y="821373"/>
                </a:cubicBezTo>
                <a:cubicBezTo>
                  <a:pt x="518160" y="821373"/>
                  <a:pt x="518160" y="821373"/>
                  <a:pt x="518160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504825" y="798513"/>
                </a:moveTo>
                <a:cubicBezTo>
                  <a:pt x="504825" y="798513"/>
                  <a:pt x="504825" y="798513"/>
                  <a:pt x="504825" y="855663"/>
                </a:cubicBezTo>
                <a:cubicBezTo>
                  <a:pt x="504825" y="855663"/>
                  <a:pt x="504825" y="855663"/>
                  <a:pt x="518160" y="855663"/>
                </a:cubicBezTo>
                <a:cubicBezTo>
                  <a:pt x="518160" y="855663"/>
                  <a:pt x="518160" y="855663"/>
                  <a:pt x="518160" y="833755"/>
                </a:cubicBezTo>
                <a:cubicBezTo>
                  <a:pt x="518160" y="833755"/>
                  <a:pt x="518160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29" y="833755"/>
                </a:cubicBezTo>
                <a:cubicBezTo>
                  <a:pt x="552450" y="830898"/>
                  <a:pt x="558164" y="824230"/>
                  <a:pt x="558164" y="816610"/>
                </a:cubicBezTo>
                <a:cubicBezTo>
                  <a:pt x="558164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5" y="798513"/>
                </a:cubicBezTo>
                <a:close/>
                <a:moveTo>
                  <a:pt x="326707" y="798512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4"/>
                </a:lnTo>
                <a:lnTo>
                  <a:pt x="347662" y="845184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2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1" y="651618"/>
                  <a:pt x="520052" y="683540"/>
                  <a:pt x="556451" y="732650"/>
                </a:cubicBezTo>
                <a:cubicBezTo>
                  <a:pt x="566299" y="746068"/>
                  <a:pt x="574563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3" y="684370"/>
                  <a:pt x="462023" y="652463"/>
                  <a:pt x="396257" y="652463"/>
                </a:cubicBezTo>
                <a:cubicBezTo>
                  <a:pt x="488400" y="652463"/>
                  <a:pt x="564188" y="723990"/>
                  <a:pt x="570519" y="814450"/>
                </a:cubicBezTo>
                <a:cubicBezTo>
                  <a:pt x="570695" y="818483"/>
                  <a:pt x="570870" y="822515"/>
                  <a:pt x="570870" y="826722"/>
                </a:cubicBezTo>
                <a:cubicBezTo>
                  <a:pt x="570870" y="830754"/>
                  <a:pt x="570695" y="834962"/>
                  <a:pt x="570519" y="838994"/>
                </a:cubicBezTo>
                <a:cubicBezTo>
                  <a:pt x="564188" y="929279"/>
                  <a:pt x="488400" y="1000806"/>
                  <a:pt x="396257" y="1000806"/>
                </a:cubicBezTo>
                <a:cubicBezTo>
                  <a:pt x="330316" y="1000806"/>
                  <a:pt x="271935" y="969075"/>
                  <a:pt x="235711" y="919988"/>
                </a:cubicBezTo>
                <a:cubicBezTo>
                  <a:pt x="225776" y="906576"/>
                  <a:pt x="217512" y="891894"/>
                  <a:pt x="211203" y="876226"/>
                </a:cubicBezTo>
                <a:lnTo>
                  <a:pt x="211136" y="875964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4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7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10384F"/>
              </a:gs>
              <a:gs pos="54000">
                <a:srgbClr val="10384F">
                  <a:alpha val="92000"/>
                </a:srgbClr>
              </a:gs>
              <a:gs pos="100000">
                <a:srgbClr val="10384F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475621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475621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980409" y="1732750"/>
            <a:ext cx="4756219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4588A89-7456-42DD-BB37-A4DF7FE6500A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3768346" y="-20325"/>
            <a:ext cx="2507333" cy="68796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463DFBD-DDCC-4E23-AC33-E3AB6130B8B6}"/>
              </a:ext>
            </a:extLst>
          </p:cNvPr>
          <p:cNvGrpSpPr/>
          <p:nvPr userDrawn="1"/>
        </p:nvGrpSpPr>
        <p:grpSpPr>
          <a:xfrm>
            <a:off x="196876" y="617538"/>
            <a:ext cx="398515" cy="398462"/>
            <a:chOff x="196850" y="617538"/>
            <a:chExt cx="398463" cy="398462"/>
          </a:xfrm>
        </p:grpSpPr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0CC0D6AE-F0E5-4EC7-93D8-0E58DB24F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C1CC3DAB-FE9B-4CA9-9D8A-A5264BB93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F1218E6-2822-4E30-9853-C646C172D45E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96B99A6-B9EB-4966-BB19-78FE0C12885C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BE4D186-E30F-42CA-831E-F7473E463F5F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34281C2E-BC26-4A62-87BA-DFE10017AA1B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FD3C206-71AA-4FD0-A35B-721C051E987A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15CA963-C202-490B-948A-C585A4E26515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0F61BE7-DE17-4BA5-812D-EF3A5DE050FB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6732DEB-8EFE-4BC1-ABFB-1233D1254218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30258DF-ADC4-47C3-B3EC-9639B310B9FC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3" name="MIO_VALID_LAYOUT" hidden="1">
            <a:extLst>
              <a:ext uri="{FF2B5EF4-FFF2-40B4-BE49-F238E27FC236}">
                <a16:creationId xmlns:a16="http://schemas.microsoft.com/office/drawing/2014/main" id="{9042AD05-739D-4B0A-9FF1-C157A10B7691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016080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B58DB7D2-BEAF-404E-9764-FC12BB9974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" y="3"/>
            <a:ext cx="12191998" cy="68579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2845E33-357F-47FD-87A8-70D09DB9CAD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9523"/>
            <a:ext cx="6057826" cy="6877049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7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60 w 6057037"/>
              <a:gd name="connsiteY41" fmla="*/ 810895 h 6877049"/>
              <a:gd name="connsiteX42" fmla="*/ 538161 w 6057037"/>
              <a:gd name="connsiteY42" fmla="*/ 810895 h 6877049"/>
              <a:gd name="connsiteX43" fmla="*/ 543877 w 6057037"/>
              <a:gd name="connsiteY43" fmla="*/ 815658 h 6877049"/>
              <a:gd name="connsiteX44" fmla="*/ 538161 w 6057037"/>
              <a:gd name="connsiteY44" fmla="*/ 821373 h 6877049"/>
              <a:gd name="connsiteX45" fmla="*/ 518160 w 6057037"/>
              <a:gd name="connsiteY45" fmla="*/ 821373 h 6877049"/>
              <a:gd name="connsiteX46" fmla="*/ 518160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361950 w 6057037"/>
              <a:gd name="connsiteY52" fmla="*/ 798513 h 6877049"/>
              <a:gd name="connsiteX53" fmla="*/ 388620 w 6057037"/>
              <a:gd name="connsiteY53" fmla="*/ 835660 h 6877049"/>
              <a:gd name="connsiteX54" fmla="*/ 388620 w 6057037"/>
              <a:gd name="connsiteY54" fmla="*/ 855663 h 6877049"/>
              <a:gd name="connsiteX55" fmla="*/ 401955 w 6057037"/>
              <a:gd name="connsiteY55" fmla="*/ 855663 h 6877049"/>
              <a:gd name="connsiteX56" fmla="*/ 401955 w 6057037"/>
              <a:gd name="connsiteY56" fmla="*/ 835660 h 6877049"/>
              <a:gd name="connsiteX57" fmla="*/ 428625 w 6057037"/>
              <a:gd name="connsiteY57" fmla="*/ 798513 h 6877049"/>
              <a:gd name="connsiteX58" fmla="*/ 413385 w 6057037"/>
              <a:gd name="connsiteY58" fmla="*/ 798513 h 6877049"/>
              <a:gd name="connsiteX59" fmla="*/ 396240 w 6057037"/>
              <a:gd name="connsiteY59" fmla="*/ 823278 h 6877049"/>
              <a:gd name="connsiteX60" fmla="*/ 377190 w 6057037"/>
              <a:gd name="connsiteY60" fmla="*/ 798513 h 6877049"/>
              <a:gd name="connsiteX61" fmla="*/ 438150 w 6057037"/>
              <a:gd name="connsiteY61" fmla="*/ 798513 h 6877049"/>
              <a:gd name="connsiteX62" fmla="*/ 438150 w 6057037"/>
              <a:gd name="connsiteY62" fmla="*/ 855663 h 6877049"/>
              <a:gd name="connsiteX63" fmla="*/ 485775 w 6057037"/>
              <a:gd name="connsiteY63" fmla="*/ 855663 h 6877049"/>
              <a:gd name="connsiteX64" fmla="*/ 485775 w 6057037"/>
              <a:gd name="connsiteY64" fmla="*/ 844233 h 6877049"/>
              <a:gd name="connsiteX65" fmla="*/ 450532 w 6057037"/>
              <a:gd name="connsiteY65" fmla="*/ 844233 h 6877049"/>
              <a:gd name="connsiteX66" fmla="*/ 450532 w 6057037"/>
              <a:gd name="connsiteY66" fmla="*/ 831850 h 6877049"/>
              <a:gd name="connsiteX67" fmla="*/ 485775 w 6057037"/>
              <a:gd name="connsiteY67" fmla="*/ 831850 h 6877049"/>
              <a:gd name="connsiteX68" fmla="*/ 485775 w 6057037"/>
              <a:gd name="connsiteY68" fmla="*/ 820420 h 6877049"/>
              <a:gd name="connsiteX69" fmla="*/ 450532 w 6057037"/>
              <a:gd name="connsiteY69" fmla="*/ 820420 h 6877049"/>
              <a:gd name="connsiteX70" fmla="*/ 450532 w 6057037"/>
              <a:gd name="connsiteY70" fmla="*/ 809943 h 6877049"/>
              <a:gd name="connsiteX71" fmla="*/ 485775 w 6057037"/>
              <a:gd name="connsiteY71" fmla="*/ 809943 h 6877049"/>
              <a:gd name="connsiteX72" fmla="*/ 485775 w 6057037"/>
              <a:gd name="connsiteY72" fmla="*/ 798513 h 6877049"/>
              <a:gd name="connsiteX73" fmla="*/ 504825 w 6057037"/>
              <a:gd name="connsiteY73" fmla="*/ 798513 h 6877049"/>
              <a:gd name="connsiteX74" fmla="*/ 504825 w 6057037"/>
              <a:gd name="connsiteY74" fmla="*/ 855663 h 6877049"/>
              <a:gd name="connsiteX75" fmla="*/ 518160 w 6057037"/>
              <a:gd name="connsiteY75" fmla="*/ 855663 h 6877049"/>
              <a:gd name="connsiteX76" fmla="*/ 518160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29 w 6057037"/>
              <a:gd name="connsiteY80" fmla="*/ 833755 h 6877049"/>
              <a:gd name="connsiteX81" fmla="*/ 558164 w 6057037"/>
              <a:gd name="connsiteY81" fmla="*/ 816610 h 6877049"/>
              <a:gd name="connsiteX82" fmla="*/ 540067 w 6057037"/>
              <a:gd name="connsiteY82" fmla="*/ 798513 h 6877049"/>
              <a:gd name="connsiteX83" fmla="*/ 504825 w 6057037"/>
              <a:gd name="connsiteY83" fmla="*/ 798513 h 6877049"/>
              <a:gd name="connsiteX84" fmla="*/ 326707 w 6057037"/>
              <a:gd name="connsiteY84" fmla="*/ 798512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4 h 6877049"/>
              <a:gd name="connsiteX88" fmla="*/ 347662 w 6057037"/>
              <a:gd name="connsiteY88" fmla="*/ 845184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2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1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0 h 6877049"/>
              <a:gd name="connsiteX136" fmla="*/ 570870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1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4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7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7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60" y="810895"/>
                </a:moveTo>
                <a:cubicBezTo>
                  <a:pt x="518160" y="810895"/>
                  <a:pt x="518160" y="810895"/>
                  <a:pt x="538161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20" y="821373"/>
                  <a:pt x="538161" y="821373"/>
                </a:cubicBezTo>
                <a:cubicBezTo>
                  <a:pt x="538161" y="821373"/>
                  <a:pt x="538161" y="821373"/>
                  <a:pt x="518160" y="821373"/>
                </a:cubicBezTo>
                <a:cubicBezTo>
                  <a:pt x="518160" y="821373"/>
                  <a:pt x="518160" y="821373"/>
                  <a:pt x="518160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504825" y="798513"/>
                </a:moveTo>
                <a:cubicBezTo>
                  <a:pt x="504825" y="798513"/>
                  <a:pt x="504825" y="798513"/>
                  <a:pt x="504825" y="855663"/>
                </a:cubicBezTo>
                <a:cubicBezTo>
                  <a:pt x="504825" y="855663"/>
                  <a:pt x="504825" y="855663"/>
                  <a:pt x="518160" y="855663"/>
                </a:cubicBezTo>
                <a:cubicBezTo>
                  <a:pt x="518160" y="855663"/>
                  <a:pt x="518160" y="855663"/>
                  <a:pt x="518160" y="833755"/>
                </a:cubicBezTo>
                <a:cubicBezTo>
                  <a:pt x="518160" y="833755"/>
                  <a:pt x="518160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29" y="833755"/>
                </a:cubicBezTo>
                <a:cubicBezTo>
                  <a:pt x="552450" y="830898"/>
                  <a:pt x="558164" y="824230"/>
                  <a:pt x="558164" y="816610"/>
                </a:cubicBezTo>
                <a:cubicBezTo>
                  <a:pt x="558164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5" y="798513"/>
                </a:cubicBezTo>
                <a:close/>
                <a:moveTo>
                  <a:pt x="326707" y="798512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4"/>
                </a:lnTo>
                <a:lnTo>
                  <a:pt x="347662" y="845184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2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1" y="651618"/>
                  <a:pt x="520052" y="683540"/>
                  <a:pt x="556451" y="732650"/>
                </a:cubicBezTo>
                <a:cubicBezTo>
                  <a:pt x="566299" y="746068"/>
                  <a:pt x="574563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3" y="684370"/>
                  <a:pt x="462023" y="652463"/>
                  <a:pt x="396257" y="652463"/>
                </a:cubicBezTo>
                <a:cubicBezTo>
                  <a:pt x="488400" y="652463"/>
                  <a:pt x="564188" y="723990"/>
                  <a:pt x="570519" y="814450"/>
                </a:cubicBezTo>
                <a:cubicBezTo>
                  <a:pt x="570695" y="818483"/>
                  <a:pt x="570870" y="822515"/>
                  <a:pt x="570870" y="826722"/>
                </a:cubicBezTo>
                <a:cubicBezTo>
                  <a:pt x="570870" y="830754"/>
                  <a:pt x="570695" y="834962"/>
                  <a:pt x="570519" y="838994"/>
                </a:cubicBezTo>
                <a:cubicBezTo>
                  <a:pt x="564188" y="929279"/>
                  <a:pt x="488400" y="1000806"/>
                  <a:pt x="396257" y="1000806"/>
                </a:cubicBezTo>
                <a:cubicBezTo>
                  <a:pt x="330316" y="1000806"/>
                  <a:pt x="271935" y="969075"/>
                  <a:pt x="235711" y="919988"/>
                </a:cubicBezTo>
                <a:cubicBezTo>
                  <a:pt x="225776" y="906576"/>
                  <a:pt x="217512" y="891894"/>
                  <a:pt x="211203" y="876226"/>
                </a:cubicBezTo>
                <a:lnTo>
                  <a:pt x="211136" y="875964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4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7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443247"/>
              </a:gs>
              <a:gs pos="54000">
                <a:srgbClr val="443247">
                  <a:alpha val="92000"/>
                </a:srgbClr>
              </a:gs>
              <a:gs pos="100000">
                <a:srgbClr val="443247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475621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475621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980409" y="1732750"/>
            <a:ext cx="4756219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7BB5F5F-E0F0-448C-B32A-153B83FC9BD7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3768346" y="-20325"/>
            <a:ext cx="2507333" cy="68796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2689F14-181B-49FF-8877-2B78A05E1F1B}"/>
              </a:ext>
            </a:extLst>
          </p:cNvPr>
          <p:cNvGrpSpPr/>
          <p:nvPr userDrawn="1"/>
        </p:nvGrpSpPr>
        <p:grpSpPr>
          <a:xfrm>
            <a:off x="196876" y="617538"/>
            <a:ext cx="398515" cy="398462"/>
            <a:chOff x="196850" y="617538"/>
            <a:chExt cx="398463" cy="398462"/>
          </a:xfrm>
        </p:grpSpPr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72251520-3887-4D0F-9773-BF8ABAEA45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BD4EF4E4-09A0-4828-AC2A-7FEF9F2E59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4E7D0E6-6BCC-4643-9135-0D949349BA0B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29973EA-FA6A-4AD0-9DE8-F1AC7D4B7BBC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D5637C9-F850-49DF-962F-40BDCC2436C2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6BBA728-04D7-4F07-B2F4-22038115C3D0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8D481F1-6EAB-4F13-871F-1595845811ED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B21F685-93F2-482D-AB05-2DCF3FEC18DA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C4A3273-1045-4626-835F-2658256F20BF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AF4F819-8FA5-4933-A814-D0968AC880A0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377E2B8-F9E5-47DA-A04D-93243A86CECB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3" name="MIO_VALID_LAYOUT" hidden="1">
            <a:extLst>
              <a:ext uri="{FF2B5EF4-FFF2-40B4-BE49-F238E27FC236}">
                <a16:creationId xmlns:a16="http://schemas.microsoft.com/office/drawing/2014/main" id="{56070DB7-AA9D-44F4-A996-8985C7C81EF6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53035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8E80C122-8886-4279-9470-CBDCAB58C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" y="3"/>
            <a:ext cx="12191998" cy="68579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210FDF1-DD8C-4684-A7DF-EF19318056A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" y="-9523"/>
            <a:ext cx="6057826" cy="6877049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7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60 w 6057037"/>
              <a:gd name="connsiteY41" fmla="*/ 810895 h 6877049"/>
              <a:gd name="connsiteX42" fmla="*/ 538161 w 6057037"/>
              <a:gd name="connsiteY42" fmla="*/ 810895 h 6877049"/>
              <a:gd name="connsiteX43" fmla="*/ 543877 w 6057037"/>
              <a:gd name="connsiteY43" fmla="*/ 815658 h 6877049"/>
              <a:gd name="connsiteX44" fmla="*/ 538161 w 6057037"/>
              <a:gd name="connsiteY44" fmla="*/ 821373 h 6877049"/>
              <a:gd name="connsiteX45" fmla="*/ 518160 w 6057037"/>
              <a:gd name="connsiteY45" fmla="*/ 821373 h 6877049"/>
              <a:gd name="connsiteX46" fmla="*/ 518160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361950 w 6057037"/>
              <a:gd name="connsiteY52" fmla="*/ 798513 h 6877049"/>
              <a:gd name="connsiteX53" fmla="*/ 388620 w 6057037"/>
              <a:gd name="connsiteY53" fmla="*/ 835660 h 6877049"/>
              <a:gd name="connsiteX54" fmla="*/ 388620 w 6057037"/>
              <a:gd name="connsiteY54" fmla="*/ 855663 h 6877049"/>
              <a:gd name="connsiteX55" fmla="*/ 401955 w 6057037"/>
              <a:gd name="connsiteY55" fmla="*/ 855663 h 6877049"/>
              <a:gd name="connsiteX56" fmla="*/ 401955 w 6057037"/>
              <a:gd name="connsiteY56" fmla="*/ 835660 h 6877049"/>
              <a:gd name="connsiteX57" fmla="*/ 428625 w 6057037"/>
              <a:gd name="connsiteY57" fmla="*/ 798513 h 6877049"/>
              <a:gd name="connsiteX58" fmla="*/ 413385 w 6057037"/>
              <a:gd name="connsiteY58" fmla="*/ 798513 h 6877049"/>
              <a:gd name="connsiteX59" fmla="*/ 396240 w 6057037"/>
              <a:gd name="connsiteY59" fmla="*/ 823278 h 6877049"/>
              <a:gd name="connsiteX60" fmla="*/ 377190 w 6057037"/>
              <a:gd name="connsiteY60" fmla="*/ 798513 h 6877049"/>
              <a:gd name="connsiteX61" fmla="*/ 438150 w 6057037"/>
              <a:gd name="connsiteY61" fmla="*/ 798513 h 6877049"/>
              <a:gd name="connsiteX62" fmla="*/ 438150 w 6057037"/>
              <a:gd name="connsiteY62" fmla="*/ 855663 h 6877049"/>
              <a:gd name="connsiteX63" fmla="*/ 485775 w 6057037"/>
              <a:gd name="connsiteY63" fmla="*/ 855663 h 6877049"/>
              <a:gd name="connsiteX64" fmla="*/ 485775 w 6057037"/>
              <a:gd name="connsiteY64" fmla="*/ 844233 h 6877049"/>
              <a:gd name="connsiteX65" fmla="*/ 450532 w 6057037"/>
              <a:gd name="connsiteY65" fmla="*/ 844233 h 6877049"/>
              <a:gd name="connsiteX66" fmla="*/ 450532 w 6057037"/>
              <a:gd name="connsiteY66" fmla="*/ 831850 h 6877049"/>
              <a:gd name="connsiteX67" fmla="*/ 485775 w 6057037"/>
              <a:gd name="connsiteY67" fmla="*/ 831850 h 6877049"/>
              <a:gd name="connsiteX68" fmla="*/ 485775 w 6057037"/>
              <a:gd name="connsiteY68" fmla="*/ 820420 h 6877049"/>
              <a:gd name="connsiteX69" fmla="*/ 450532 w 6057037"/>
              <a:gd name="connsiteY69" fmla="*/ 820420 h 6877049"/>
              <a:gd name="connsiteX70" fmla="*/ 450532 w 6057037"/>
              <a:gd name="connsiteY70" fmla="*/ 809943 h 6877049"/>
              <a:gd name="connsiteX71" fmla="*/ 485775 w 6057037"/>
              <a:gd name="connsiteY71" fmla="*/ 809943 h 6877049"/>
              <a:gd name="connsiteX72" fmla="*/ 485775 w 6057037"/>
              <a:gd name="connsiteY72" fmla="*/ 798513 h 6877049"/>
              <a:gd name="connsiteX73" fmla="*/ 504825 w 6057037"/>
              <a:gd name="connsiteY73" fmla="*/ 798513 h 6877049"/>
              <a:gd name="connsiteX74" fmla="*/ 504825 w 6057037"/>
              <a:gd name="connsiteY74" fmla="*/ 855663 h 6877049"/>
              <a:gd name="connsiteX75" fmla="*/ 518160 w 6057037"/>
              <a:gd name="connsiteY75" fmla="*/ 855663 h 6877049"/>
              <a:gd name="connsiteX76" fmla="*/ 518160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29 w 6057037"/>
              <a:gd name="connsiteY80" fmla="*/ 833755 h 6877049"/>
              <a:gd name="connsiteX81" fmla="*/ 558164 w 6057037"/>
              <a:gd name="connsiteY81" fmla="*/ 816610 h 6877049"/>
              <a:gd name="connsiteX82" fmla="*/ 540067 w 6057037"/>
              <a:gd name="connsiteY82" fmla="*/ 798513 h 6877049"/>
              <a:gd name="connsiteX83" fmla="*/ 504825 w 6057037"/>
              <a:gd name="connsiteY83" fmla="*/ 798513 h 6877049"/>
              <a:gd name="connsiteX84" fmla="*/ 326707 w 6057037"/>
              <a:gd name="connsiteY84" fmla="*/ 798512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4 h 6877049"/>
              <a:gd name="connsiteX88" fmla="*/ 347662 w 6057037"/>
              <a:gd name="connsiteY88" fmla="*/ 845184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2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1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0 h 6877049"/>
              <a:gd name="connsiteX136" fmla="*/ 570870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1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4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7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7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60" y="810895"/>
                </a:moveTo>
                <a:cubicBezTo>
                  <a:pt x="518160" y="810895"/>
                  <a:pt x="518160" y="810895"/>
                  <a:pt x="538161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20" y="821373"/>
                  <a:pt x="538161" y="821373"/>
                </a:cubicBezTo>
                <a:cubicBezTo>
                  <a:pt x="538161" y="821373"/>
                  <a:pt x="538161" y="821373"/>
                  <a:pt x="518160" y="821373"/>
                </a:cubicBezTo>
                <a:cubicBezTo>
                  <a:pt x="518160" y="821373"/>
                  <a:pt x="518160" y="821373"/>
                  <a:pt x="518160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504825" y="798513"/>
                </a:moveTo>
                <a:cubicBezTo>
                  <a:pt x="504825" y="798513"/>
                  <a:pt x="504825" y="798513"/>
                  <a:pt x="504825" y="855663"/>
                </a:cubicBezTo>
                <a:cubicBezTo>
                  <a:pt x="504825" y="855663"/>
                  <a:pt x="504825" y="855663"/>
                  <a:pt x="518160" y="855663"/>
                </a:cubicBezTo>
                <a:cubicBezTo>
                  <a:pt x="518160" y="855663"/>
                  <a:pt x="518160" y="855663"/>
                  <a:pt x="518160" y="833755"/>
                </a:cubicBezTo>
                <a:cubicBezTo>
                  <a:pt x="518160" y="833755"/>
                  <a:pt x="518160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29" y="833755"/>
                </a:cubicBezTo>
                <a:cubicBezTo>
                  <a:pt x="552450" y="830898"/>
                  <a:pt x="558164" y="824230"/>
                  <a:pt x="558164" y="816610"/>
                </a:cubicBezTo>
                <a:cubicBezTo>
                  <a:pt x="558164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5" y="798513"/>
                </a:cubicBezTo>
                <a:close/>
                <a:moveTo>
                  <a:pt x="326707" y="798512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4"/>
                </a:lnTo>
                <a:lnTo>
                  <a:pt x="347662" y="845184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2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1" y="651618"/>
                  <a:pt x="520052" y="683540"/>
                  <a:pt x="556451" y="732650"/>
                </a:cubicBezTo>
                <a:cubicBezTo>
                  <a:pt x="566299" y="746068"/>
                  <a:pt x="574563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3" y="684370"/>
                  <a:pt x="462023" y="652463"/>
                  <a:pt x="396257" y="652463"/>
                </a:cubicBezTo>
                <a:cubicBezTo>
                  <a:pt x="488400" y="652463"/>
                  <a:pt x="564188" y="723990"/>
                  <a:pt x="570519" y="814450"/>
                </a:cubicBezTo>
                <a:cubicBezTo>
                  <a:pt x="570695" y="818483"/>
                  <a:pt x="570870" y="822515"/>
                  <a:pt x="570870" y="826722"/>
                </a:cubicBezTo>
                <a:cubicBezTo>
                  <a:pt x="570870" y="830754"/>
                  <a:pt x="570695" y="834962"/>
                  <a:pt x="570519" y="838994"/>
                </a:cubicBezTo>
                <a:cubicBezTo>
                  <a:pt x="564188" y="929279"/>
                  <a:pt x="488400" y="1000806"/>
                  <a:pt x="396257" y="1000806"/>
                </a:cubicBezTo>
                <a:cubicBezTo>
                  <a:pt x="330316" y="1000806"/>
                  <a:pt x="271935" y="969075"/>
                  <a:pt x="235711" y="919988"/>
                </a:cubicBezTo>
                <a:cubicBezTo>
                  <a:pt x="225776" y="906576"/>
                  <a:pt x="217512" y="891894"/>
                  <a:pt x="211203" y="876226"/>
                </a:cubicBezTo>
                <a:lnTo>
                  <a:pt x="211136" y="875964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4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7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D30F4B"/>
              </a:gs>
              <a:gs pos="54000">
                <a:srgbClr val="D30F4B">
                  <a:alpha val="92000"/>
                </a:srgbClr>
              </a:gs>
              <a:gs pos="100000">
                <a:srgbClr val="D30F4B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475621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4756219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980409" y="1732750"/>
            <a:ext cx="4756219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7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54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81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1080000" indent="-270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EE15F5F-D2FD-4E8B-A652-8485C263B7CC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D75C9DE-7C00-4172-B45A-785F6EB104D7}"/>
              </a:ext>
            </a:extLst>
          </p:cNvPr>
          <p:cNvGrpSpPr/>
          <p:nvPr userDrawn="1"/>
        </p:nvGrpSpPr>
        <p:grpSpPr>
          <a:xfrm>
            <a:off x="196876" y="617538"/>
            <a:ext cx="398515" cy="398462"/>
            <a:chOff x="196850" y="617538"/>
            <a:chExt cx="398463" cy="398462"/>
          </a:xfrm>
        </p:grpSpPr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70CE2879-9EDB-4370-87DF-53ADF21D1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AF60F425-7775-4409-A478-BC5163E139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3BB1630-6866-4B1C-A707-87B67AE766D5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C71AA53-DFDC-4B40-B426-4C1DDA461154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43B809E-ACFF-44EB-8700-B5F74B59D38A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63F1353-5760-4C91-A56F-CD7590990DEC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1DF23D4-722E-49DA-ABE9-7E74896D68D1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9E886EC-142B-42FE-BC0A-70188B4692C4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F1155A9-C0F6-47C4-99BF-B9A0EF114394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33EF171-34B2-4D3A-BF20-83AD0A832D27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5FFD001-3191-4377-BCA1-AD94B36F0404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2D8F449-5F28-4B15-9615-845AD3FD58DB}"/>
              </a:ext>
            </a:extLst>
          </p:cNvPr>
          <p:cNvCxnSpPr/>
          <p:nvPr userDrawn="1"/>
        </p:nvCxnSpPr>
        <p:spPr bwMode="gray">
          <a:xfrm flipV="1">
            <a:off x="3768346" y="-20325"/>
            <a:ext cx="2507333" cy="687960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IO_VALID_LAYOUT" hidden="1">
            <a:extLst>
              <a:ext uri="{FF2B5EF4-FFF2-40B4-BE49-F238E27FC236}">
                <a16:creationId xmlns:a16="http://schemas.microsoft.com/office/drawing/2014/main" id="{BD7A02AC-C254-4261-A2B3-584110FA83D0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4939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(4)">
    <p:bg>
      <p:bgPr>
        <a:gradFill>
          <a:gsLst>
            <a:gs pos="0">
              <a:srgbClr val="00617F"/>
            </a:gs>
            <a:gs pos="33000">
              <a:srgbClr val="00617F"/>
            </a:gs>
            <a:gs pos="72000">
              <a:srgbClr val="10384F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62360238-FF2B-42B4-8CF1-A51C22C2E70C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162F328-3196-4A72-A79E-826433EC45C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blackGray">
          <a:xfrm>
            <a:off x="622267" y="2193632"/>
            <a:ext cx="3234294" cy="3240000"/>
          </a:xfrm>
          <a:custGeom>
            <a:avLst/>
            <a:gdLst>
              <a:gd name="connsiteX0" fmla="*/ 216 w 3233873"/>
              <a:gd name="connsiteY0" fmla="*/ 3238918 h 3240000"/>
              <a:gd name="connsiteX1" fmla="*/ 5630 w 3233873"/>
              <a:gd name="connsiteY1" fmla="*/ 3240000 h 3240000"/>
              <a:gd name="connsiteX2" fmla="*/ 0 w 3233873"/>
              <a:gd name="connsiteY2" fmla="*/ 3240000 h 3240000"/>
              <a:gd name="connsiteX3" fmla="*/ 654873 w 3233873"/>
              <a:gd name="connsiteY3" fmla="*/ 0 h 3240000"/>
              <a:gd name="connsiteX4" fmla="*/ 3233873 w 3233873"/>
              <a:gd name="connsiteY4" fmla="*/ 0 h 3240000"/>
              <a:gd name="connsiteX5" fmla="*/ 2586446 w 3233873"/>
              <a:gd name="connsiteY5" fmla="*/ 3240000 h 3240000"/>
              <a:gd name="connsiteX6" fmla="*/ 7447 w 3233873"/>
              <a:gd name="connsiteY6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3873" h="3240000">
                <a:moveTo>
                  <a:pt x="216" y="3238918"/>
                </a:moveTo>
                <a:lnTo>
                  <a:pt x="5630" y="3240000"/>
                </a:lnTo>
                <a:lnTo>
                  <a:pt x="0" y="3240000"/>
                </a:lnTo>
                <a:close/>
                <a:moveTo>
                  <a:pt x="654873" y="0"/>
                </a:moveTo>
                <a:lnTo>
                  <a:pt x="3233873" y="0"/>
                </a:lnTo>
                <a:lnTo>
                  <a:pt x="2586446" y="3240000"/>
                </a:lnTo>
                <a:lnTo>
                  <a:pt x="7447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7751AF13-053D-43FA-B728-7364D8E627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Gray">
          <a:xfrm>
            <a:off x="3019753" y="3232693"/>
            <a:ext cx="3218984" cy="3240000"/>
          </a:xfrm>
          <a:custGeom>
            <a:avLst/>
            <a:gdLst>
              <a:gd name="connsiteX0" fmla="*/ 647426 w 3218565"/>
              <a:gd name="connsiteY0" fmla="*/ 0 h 3240000"/>
              <a:gd name="connsiteX1" fmla="*/ 3218565 w 3218565"/>
              <a:gd name="connsiteY1" fmla="*/ 0 h 3240000"/>
              <a:gd name="connsiteX2" fmla="*/ 2571517 w 3218565"/>
              <a:gd name="connsiteY2" fmla="*/ 3238102 h 3240000"/>
              <a:gd name="connsiteX3" fmla="*/ 2581018 w 3218565"/>
              <a:gd name="connsiteY3" fmla="*/ 3240000 h 3240000"/>
              <a:gd name="connsiteX4" fmla="*/ 0 w 3218565"/>
              <a:gd name="connsiteY4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565" h="3240000">
                <a:moveTo>
                  <a:pt x="647426" y="0"/>
                </a:moveTo>
                <a:lnTo>
                  <a:pt x="3218565" y="0"/>
                </a:lnTo>
                <a:lnTo>
                  <a:pt x="2571517" y="3238102"/>
                </a:lnTo>
                <a:lnTo>
                  <a:pt x="258101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956EDA78-1B82-47AD-BA23-289A2D6064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blackGray">
          <a:xfrm>
            <a:off x="5760969" y="2498432"/>
            <a:ext cx="3230275" cy="3240000"/>
          </a:xfrm>
          <a:custGeom>
            <a:avLst/>
            <a:gdLst>
              <a:gd name="connsiteX0" fmla="*/ 647125 w 3229855"/>
              <a:gd name="connsiteY0" fmla="*/ 0 h 3240000"/>
              <a:gd name="connsiteX1" fmla="*/ 3229855 w 3229855"/>
              <a:gd name="connsiteY1" fmla="*/ 0 h 3240000"/>
              <a:gd name="connsiteX2" fmla="*/ 2582428 w 3229855"/>
              <a:gd name="connsiteY2" fmla="*/ 3240000 h 3240000"/>
              <a:gd name="connsiteX3" fmla="*/ 0 w 3229855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9855" h="3240000">
                <a:moveTo>
                  <a:pt x="647125" y="0"/>
                </a:moveTo>
                <a:lnTo>
                  <a:pt x="3229855" y="0"/>
                </a:lnTo>
                <a:lnTo>
                  <a:pt x="258242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F66AF24C-A1FA-4D40-A8D0-98A5B17D974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blackGray">
          <a:xfrm>
            <a:off x="8670360" y="955919"/>
            <a:ext cx="3234809" cy="3240000"/>
          </a:xfrm>
          <a:custGeom>
            <a:avLst/>
            <a:gdLst>
              <a:gd name="connsiteX0" fmla="*/ 647426 w 3234388"/>
              <a:gd name="connsiteY0" fmla="*/ 0 h 3240000"/>
              <a:gd name="connsiteX1" fmla="*/ 3234388 w 3234388"/>
              <a:gd name="connsiteY1" fmla="*/ 0 h 3240000"/>
              <a:gd name="connsiteX2" fmla="*/ 2587133 w 3234388"/>
              <a:gd name="connsiteY2" fmla="*/ 3239143 h 3240000"/>
              <a:gd name="connsiteX3" fmla="*/ 2588614 w 3234388"/>
              <a:gd name="connsiteY3" fmla="*/ 3239439 h 3240000"/>
              <a:gd name="connsiteX4" fmla="*/ 2588502 w 3234388"/>
              <a:gd name="connsiteY4" fmla="*/ 3240000 h 3240000"/>
              <a:gd name="connsiteX5" fmla="*/ 0 w 3234388"/>
              <a:gd name="connsiteY5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34388" h="3240000">
                <a:moveTo>
                  <a:pt x="647426" y="0"/>
                </a:moveTo>
                <a:lnTo>
                  <a:pt x="3234388" y="0"/>
                </a:lnTo>
                <a:lnTo>
                  <a:pt x="2587133" y="3239143"/>
                </a:lnTo>
                <a:lnTo>
                  <a:pt x="2588614" y="3239439"/>
                </a:lnTo>
                <a:lnTo>
                  <a:pt x="2588502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A61820-7E8A-4ECF-BB59-0E041E3E55D1}"/>
              </a:ext>
            </a:extLst>
          </p:cNvPr>
          <p:cNvSpPr/>
          <p:nvPr userDrawn="1"/>
        </p:nvSpPr>
        <p:spPr bwMode="gray">
          <a:xfrm rot="678011">
            <a:off x="935645" y="2159451"/>
            <a:ext cx="18002" cy="3304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984902-A9B9-4D7F-BD2B-BF6B6219C02A}"/>
              </a:ext>
            </a:extLst>
          </p:cNvPr>
          <p:cNvSpPr/>
          <p:nvPr userDrawn="1"/>
        </p:nvSpPr>
        <p:spPr bwMode="gray">
          <a:xfrm rot="678011">
            <a:off x="11581483" y="924059"/>
            <a:ext cx="18002" cy="3304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053A2E9-114E-45FA-8870-EF266F5E6BC8}"/>
              </a:ext>
            </a:extLst>
          </p:cNvPr>
          <p:cNvSpPr/>
          <p:nvPr userDrawn="1"/>
        </p:nvSpPr>
        <p:spPr bwMode="gray">
          <a:xfrm rot="678011">
            <a:off x="8804638" y="-73353"/>
            <a:ext cx="18002" cy="7012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D33EB3-7D26-4200-9DCD-FFCF11E88BD5}"/>
              </a:ext>
            </a:extLst>
          </p:cNvPr>
          <p:cNvSpPr/>
          <p:nvPr userDrawn="1"/>
        </p:nvSpPr>
        <p:spPr bwMode="gray">
          <a:xfrm rot="678011">
            <a:off x="6238733" y="-69410"/>
            <a:ext cx="18002" cy="660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06CA2D8-99E8-4AB9-AAE1-664120A159BC}"/>
              </a:ext>
            </a:extLst>
          </p:cNvPr>
          <p:cNvSpPr/>
          <p:nvPr userDrawn="1"/>
        </p:nvSpPr>
        <p:spPr bwMode="gray">
          <a:xfrm rot="678011">
            <a:off x="3389461" y="2146778"/>
            <a:ext cx="18002" cy="477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MIO_VALID_LAYOUT" hidden="1">
            <a:extLst>
              <a:ext uri="{FF2B5EF4-FFF2-40B4-BE49-F238E27FC236}">
                <a16:creationId xmlns:a16="http://schemas.microsoft.com/office/drawing/2014/main" id="{4D11767A-98B7-4DE1-BF50-4C80130DD1F6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Logoschutz" hidden="1">
            <a:extLst>
              <a:ext uri="{FF2B5EF4-FFF2-40B4-BE49-F238E27FC236}">
                <a16:creationId xmlns:a16="http://schemas.microsoft.com/office/drawing/2014/main" id="{1F4FF383-F8D3-4EA5-84E4-98AA7DFCEDB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557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2 (4)">
    <p:bg>
      <p:bgPr>
        <a:gradFill>
          <a:gsLst>
            <a:gs pos="0">
              <a:srgbClr val="2B6636"/>
            </a:gs>
            <a:gs pos="33000">
              <a:srgbClr val="2B6636"/>
            </a:gs>
            <a:gs pos="72000">
              <a:srgbClr val="66B51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44F2ABB0-E40F-42E4-B84E-615D18FAA3CC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53DF268-9522-4FDD-925B-786EDA7973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blackGray">
          <a:xfrm>
            <a:off x="622267" y="2193632"/>
            <a:ext cx="3234294" cy="3240000"/>
          </a:xfrm>
          <a:custGeom>
            <a:avLst/>
            <a:gdLst>
              <a:gd name="connsiteX0" fmla="*/ 216 w 3233873"/>
              <a:gd name="connsiteY0" fmla="*/ 3238918 h 3240000"/>
              <a:gd name="connsiteX1" fmla="*/ 5630 w 3233873"/>
              <a:gd name="connsiteY1" fmla="*/ 3240000 h 3240000"/>
              <a:gd name="connsiteX2" fmla="*/ 0 w 3233873"/>
              <a:gd name="connsiteY2" fmla="*/ 3240000 h 3240000"/>
              <a:gd name="connsiteX3" fmla="*/ 654873 w 3233873"/>
              <a:gd name="connsiteY3" fmla="*/ 0 h 3240000"/>
              <a:gd name="connsiteX4" fmla="*/ 3233873 w 3233873"/>
              <a:gd name="connsiteY4" fmla="*/ 0 h 3240000"/>
              <a:gd name="connsiteX5" fmla="*/ 2586446 w 3233873"/>
              <a:gd name="connsiteY5" fmla="*/ 3240000 h 3240000"/>
              <a:gd name="connsiteX6" fmla="*/ 7447 w 3233873"/>
              <a:gd name="connsiteY6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3873" h="3240000">
                <a:moveTo>
                  <a:pt x="216" y="3238918"/>
                </a:moveTo>
                <a:lnTo>
                  <a:pt x="5630" y="3240000"/>
                </a:lnTo>
                <a:lnTo>
                  <a:pt x="0" y="3240000"/>
                </a:lnTo>
                <a:close/>
                <a:moveTo>
                  <a:pt x="654873" y="0"/>
                </a:moveTo>
                <a:lnTo>
                  <a:pt x="3233873" y="0"/>
                </a:lnTo>
                <a:lnTo>
                  <a:pt x="2586446" y="3240000"/>
                </a:lnTo>
                <a:lnTo>
                  <a:pt x="7447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910586A-CD5E-4E16-BE26-E4883C3BA0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Gray">
          <a:xfrm>
            <a:off x="3019753" y="3232693"/>
            <a:ext cx="3218984" cy="3240000"/>
          </a:xfrm>
          <a:custGeom>
            <a:avLst/>
            <a:gdLst>
              <a:gd name="connsiteX0" fmla="*/ 647426 w 3218565"/>
              <a:gd name="connsiteY0" fmla="*/ 0 h 3240000"/>
              <a:gd name="connsiteX1" fmla="*/ 3218565 w 3218565"/>
              <a:gd name="connsiteY1" fmla="*/ 0 h 3240000"/>
              <a:gd name="connsiteX2" fmla="*/ 2571517 w 3218565"/>
              <a:gd name="connsiteY2" fmla="*/ 3238102 h 3240000"/>
              <a:gd name="connsiteX3" fmla="*/ 2581018 w 3218565"/>
              <a:gd name="connsiteY3" fmla="*/ 3240000 h 3240000"/>
              <a:gd name="connsiteX4" fmla="*/ 0 w 3218565"/>
              <a:gd name="connsiteY4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565" h="3240000">
                <a:moveTo>
                  <a:pt x="647426" y="0"/>
                </a:moveTo>
                <a:lnTo>
                  <a:pt x="3218565" y="0"/>
                </a:lnTo>
                <a:lnTo>
                  <a:pt x="2571517" y="3238102"/>
                </a:lnTo>
                <a:lnTo>
                  <a:pt x="258101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F5F80CC2-C6E1-47BD-9EAE-2E75BE20CA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blackGray">
          <a:xfrm>
            <a:off x="5760969" y="2498432"/>
            <a:ext cx="3230275" cy="3240000"/>
          </a:xfrm>
          <a:custGeom>
            <a:avLst/>
            <a:gdLst>
              <a:gd name="connsiteX0" fmla="*/ 647125 w 3229855"/>
              <a:gd name="connsiteY0" fmla="*/ 0 h 3240000"/>
              <a:gd name="connsiteX1" fmla="*/ 3229855 w 3229855"/>
              <a:gd name="connsiteY1" fmla="*/ 0 h 3240000"/>
              <a:gd name="connsiteX2" fmla="*/ 2582428 w 3229855"/>
              <a:gd name="connsiteY2" fmla="*/ 3240000 h 3240000"/>
              <a:gd name="connsiteX3" fmla="*/ 0 w 3229855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9855" h="3240000">
                <a:moveTo>
                  <a:pt x="647125" y="0"/>
                </a:moveTo>
                <a:lnTo>
                  <a:pt x="3229855" y="0"/>
                </a:lnTo>
                <a:lnTo>
                  <a:pt x="258242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CBDB73-4B04-469D-8078-60209F73A37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blackGray">
          <a:xfrm>
            <a:off x="8670360" y="955919"/>
            <a:ext cx="3234809" cy="3240000"/>
          </a:xfrm>
          <a:custGeom>
            <a:avLst/>
            <a:gdLst>
              <a:gd name="connsiteX0" fmla="*/ 647426 w 3234388"/>
              <a:gd name="connsiteY0" fmla="*/ 0 h 3240000"/>
              <a:gd name="connsiteX1" fmla="*/ 3234388 w 3234388"/>
              <a:gd name="connsiteY1" fmla="*/ 0 h 3240000"/>
              <a:gd name="connsiteX2" fmla="*/ 2587133 w 3234388"/>
              <a:gd name="connsiteY2" fmla="*/ 3239143 h 3240000"/>
              <a:gd name="connsiteX3" fmla="*/ 2588614 w 3234388"/>
              <a:gd name="connsiteY3" fmla="*/ 3239439 h 3240000"/>
              <a:gd name="connsiteX4" fmla="*/ 2588502 w 3234388"/>
              <a:gd name="connsiteY4" fmla="*/ 3240000 h 3240000"/>
              <a:gd name="connsiteX5" fmla="*/ 0 w 3234388"/>
              <a:gd name="connsiteY5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34388" h="3240000">
                <a:moveTo>
                  <a:pt x="647426" y="0"/>
                </a:moveTo>
                <a:lnTo>
                  <a:pt x="3234388" y="0"/>
                </a:lnTo>
                <a:lnTo>
                  <a:pt x="2587133" y="3239143"/>
                </a:lnTo>
                <a:lnTo>
                  <a:pt x="2588614" y="3239439"/>
                </a:lnTo>
                <a:lnTo>
                  <a:pt x="2588502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C33222-326F-4139-B660-D80117E51A31}"/>
              </a:ext>
            </a:extLst>
          </p:cNvPr>
          <p:cNvSpPr/>
          <p:nvPr userDrawn="1"/>
        </p:nvSpPr>
        <p:spPr bwMode="gray">
          <a:xfrm rot="678011">
            <a:off x="935645" y="2159451"/>
            <a:ext cx="18002" cy="3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C798F6-CA5C-4643-94EB-8FADA486612C}"/>
              </a:ext>
            </a:extLst>
          </p:cNvPr>
          <p:cNvSpPr/>
          <p:nvPr userDrawn="1"/>
        </p:nvSpPr>
        <p:spPr bwMode="gray">
          <a:xfrm rot="678011">
            <a:off x="11581483" y="924059"/>
            <a:ext cx="18002" cy="3304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25A2B01-3173-4DA6-A0AA-2E1FAB97B7AB}"/>
              </a:ext>
            </a:extLst>
          </p:cNvPr>
          <p:cNvSpPr/>
          <p:nvPr userDrawn="1"/>
        </p:nvSpPr>
        <p:spPr bwMode="gray">
          <a:xfrm rot="678011">
            <a:off x="6238733" y="-69410"/>
            <a:ext cx="18002" cy="660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CC23B3B-A05F-474F-86A2-7F5236ECE285}"/>
              </a:ext>
            </a:extLst>
          </p:cNvPr>
          <p:cNvSpPr/>
          <p:nvPr userDrawn="1"/>
        </p:nvSpPr>
        <p:spPr bwMode="gray">
          <a:xfrm rot="678011">
            <a:off x="8804638" y="-73353"/>
            <a:ext cx="18002" cy="7012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905FAFE-265F-4013-AFEE-C60F30AAC985}"/>
              </a:ext>
            </a:extLst>
          </p:cNvPr>
          <p:cNvSpPr/>
          <p:nvPr userDrawn="1"/>
        </p:nvSpPr>
        <p:spPr bwMode="gray">
          <a:xfrm rot="678011">
            <a:off x="3389461" y="2146778"/>
            <a:ext cx="18002" cy="477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MIO_VALID_LAYOUT" hidden="1">
            <a:extLst>
              <a:ext uri="{FF2B5EF4-FFF2-40B4-BE49-F238E27FC236}">
                <a16:creationId xmlns:a16="http://schemas.microsoft.com/office/drawing/2014/main" id="{E7E997D7-DFE8-46B3-9ABC-70C6D53C56C4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Logoschutz" hidden="1">
            <a:extLst>
              <a:ext uri="{FF2B5EF4-FFF2-40B4-BE49-F238E27FC236}">
                <a16:creationId xmlns:a16="http://schemas.microsoft.com/office/drawing/2014/main" id="{F0B6F7B0-428A-4652-A3D3-E4562D2C7A1F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6602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3 (4)">
    <p:bg>
      <p:bgPr>
        <a:gradFill>
          <a:gsLst>
            <a:gs pos="0">
              <a:srgbClr val="624963"/>
            </a:gs>
            <a:gs pos="33000">
              <a:srgbClr val="624963"/>
            </a:gs>
            <a:gs pos="72000">
              <a:srgbClr val="443247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blackGray">
          <a:xfrm>
            <a:off x="981949" y="1138299"/>
            <a:ext cx="5222809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981949" y="181938"/>
            <a:ext cx="5219139" cy="864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blackGray"/>
        <p:txBody>
          <a:bodyPr/>
          <a:lstStyle/>
          <a:p>
            <a:fld id="{104AFF1D-8C46-44DF-B031-3A8898447AE1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3C2ABD-2ED8-4304-9E15-7A8609C98F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blackGray">
          <a:xfrm>
            <a:off x="622267" y="2193632"/>
            <a:ext cx="3234294" cy="3240000"/>
          </a:xfrm>
          <a:custGeom>
            <a:avLst/>
            <a:gdLst>
              <a:gd name="connsiteX0" fmla="*/ 216 w 3233873"/>
              <a:gd name="connsiteY0" fmla="*/ 3238918 h 3240000"/>
              <a:gd name="connsiteX1" fmla="*/ 5630 w 3233873"/>
              <a:gd name="connsiteY1" fmla="*/ 3240000 h 3240000"/>
              <a:gd name="connsiteX2" fmla="*/ 0 w 3233873"/>
              <a:gd name="connsiteY2" fmla="*/ 3240000 h 3240000"/>
              <a:gd name="connsiteX3" fmla="*/ 654873 w 3233873"/>
              <a:gd name="connsiteY3" fmla="*/ 0 h 3240000"/>
              <a:gd name="connsiteX4" fmla="*/ 3233873 w 3233873"/>
              <a:gd name="connsiteY4" fmla="*/ 0 h 3240000"/>
              <a:gd name="connsiteX5" fmla="*/ 2586446 w 3233873"/>
              <a:gd name="connsiteY5" fmla="*/ 3240000 h 3240000"/>
              <a:gd name="connsiteX6" fmla="*/ 7447 w 3233873"/>
              <a:gd name="connsiteY6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33873" h="3240000">
                <a:moveTo>
                  <a:pt x="216" y="3238918"/>
                </a:moveTo>
                <a:lnTo>
                  <a:pt x="5630" y="3240000"/>
                </a:lnTo>
                <a:lnTo>
                  <a:pt x="0" y="3240000"/>
                </a:lnTo>
                <a:close/>
                <a:moveTo>
                  <a:pt x="654873" y="0"/>
                </a:moveTo>
                <a:lnTo>
                  <a:pt x="3233873" y="0"/>
                </a:lnTo>
                <a:lnTo>
                  <a:pt x="2586446" y="3240000"/>
                </a:lnTo>
                <a:lnTo>
                  <a:pt x="7447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532E467A-A0D8-4355-BA9F-5A81FBA3946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blackGray">
          <a:xfrm>
            <a:off x="3019753" y="3232693"/>
            <a:ext cx="3218984" cy="3240000"/>
          </a:xfrm>
          <a:custGeom>
            <a:avLst/>
            <a:gdLst>
              <a:gd name="connsiteX0" fmla="*/ 647426 w 3218565"/>
              <a:gd name="connsiteY0" fmla="*/ 0 h 3240000"/>
              <a:gd name="connsiteX1" fmla="*/ 3218565 w 3218565"/>
              <a:gd name="connsiteY1" fmla="*/ 0 h 3240000"/>
              <a:gd name="connsiteX2" fmla="*/ 2571517 w 3218565"/>
              <a:gd name="connsiteY2" fmla="*/ 3238102 h 3240000"/>
              <a:gd name="connsiteX3" fmla="*/ 2581018 w 3218565"/>
              <a:gd name="connsiteY3" fmla="*/ 3240000 h 3240000"/>
              <a:gd name="connsiteX4" fmla="*/ 0 w 3218565"/>
              <a:gd name="connsiteY4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565" h="3240000">
                <a:moveTo>
                  <a:pt x="647426" y="0"/>
                </a:moveTo>
                <a:lnTo>
                  <a:pt x="3218565" y="0"/>
                </a:lnTo>
                <a:lnTo>
                  <a:pt x="2571517" y="3238102"/>
                </a:lnTo>
                <a:lnTo>
                  <a:pt x="258101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FE851A5-69B0-4E45-B3E2-FA8F937DCDB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blackGray">
          <a:xfrm>
            <a:off x="5760969" y="2498432"/>
            <a:ext cx="3230275" cy="3240000"/>
          </a:xfrm>
          <a:custGeom>
            <a:avLst/>
            <a:gdLst>
              <a:gd name="connsiteX0" fmla="*/ 647125 w 3229855"/>
              <a:gd name="connsiteY0" fmla="*/ 0 h 3240000"/>
              <a:gd name="connsiteX1" fmla="*/ 3229855 w 3229855"/>
              <a:gd name="connsiteY1" fmla="*/ 0 h 3240000"/>
              <a:gd name="connsiteX2" fmla="*/ 2582428 w 3229855"/>
              <a:gd name="connsiteY2" fmla="*/ 3240000 h 3240000"/>
              <a:gd name="connsiteX3" fmla="*/ 0 w 3229855"/>
              <a:gd name="connsiteY3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9855" h="3240000">
                <a:moveTo>
                  <a:pt x="647125" y="0"/>
                </a:moveTo>
                <a:lnTo>
                  <a:pt x="3229855" y="0"/>
                </a:lnTo>
                <a:lnTo>
                  <a:pt x="2582428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73C1865B-900E-4102-87A8-A6CAD2773F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blackGray">
          <a:xfrm>
            <a:off x="8670360" y="955919"/>
            <a:ext cx="3234809" cy="3240000"/>
          </a:xfrm>
          <a:custGeom>
            <a:avLst/>
            <a:gdLst>
              <a:gd name="connsiteX0" fmla="*/ 647426 w 3234388"/>
              <a:gd name="connsiteY0" fmla="*/ 0 h 3240000"/>
              <a:gd name="connsiteX1" fmla="*/ 3234388 w 3234388"/>
              <a:gd name="connsiteY1" fmla="*/ 0 h 3240000"/>
              <a:gd name="connsiteX2" fmla="*/ 2587133 w 3234388"/>
              <a:gd name="connsiteY2" fmla="*/ 3239143 h 3240000"/>
              <a:gd name="connsiteX3" fmla="*/ 2588614 w 3234388"/>
              <a:gd name="connsiteY3" fmla="*/ 3239439 h 3240000"/>
              <a:gd name="connsiteX4" fmla="*/ 2588502 w 3234388"/>
              <a:gd name="connsiteY4" fmla="*/ 3240000 h 3240000"/>
              <a:gd name="connsiteX5" fmla="*/ 0 w 3234388"/>
              <a:gd name="connsiteY5" fmla="*/ 324000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34388" h="3240000">
                <a:moveTo>
                  <a:pt x="647426" y="0"/>
                </a:moveTo>
                <a:lnTo>
                  <a:pt x="3234388" y="0"/>
                </a:lnTo>
                <a:lnTo>
                  <a:pt x="2587133" y="3239143"/>
                </a:lnTo>
                <a:lnTo>
                  <a:pt x="2588614" y="3239439"/>
                </a:lnTo>
                <a:lnTo>
                  <a:pt x="2588502" y="3240000"/>
                </a:lnTo>
                <a:lnTo>
                  <a:pt x="0" y="3240000"/>
                </a:lnTo>
                <a:close/>
              </a:path>
            </a:pathLst>
          </a:custGeom>
        </p:spPr>
        <p:txBody>
          <a:bodyPr wrap="square" tIns="684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126371-86F7-4A18-81E9-ABFC2D14D14D}"/>
              </a:ext>
            </a:extLst>
          </p:cNvPr>
          <p:cNvSpPr/>
          <p:nvPr userDrawn="1"/>
        </p:nvSpPr>
        <p:spPr bwMode="gray">
          <a:xfrm rot="678011">
            <a:off x="935645" y="2159451"/>
            <a:ext cx="18002" cy="3304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73C87D5-60E8-41E9-AB09-06863B57B234}"/>
              </a:ext>
            </a:extLst>
          </p:cNvPr>
          <p:cNvSpPr/>
          <p:nvPr userDrawn="1"/>
        </p:nvSpPr>
        <p:spPr bwMode="gray">
          <a:xfrm rot="678011">
            <a:off x="11581483" y="924059"/>
            <a:ext cx="18002" cy="3304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01B1692-CFA6-4C34-AF6A-56242E7455A1}"/>
              </a:ext>
            </a:extLst>
          </p:cNvPr>
          <p:cNvSpPr/>
          <p:nvPr userDrawn="1"/>
        </p:nvSpPr>
        <p:spPr bwMode="gray">
          <a:xfrm rot="678011">
            <a:off x="6238733" y="-69410"/>
            <a:ext cx="18002" cy="660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F17AE41-5E72-4672-987B-182D8620B827}"/>
              </a:ext>
            </a:extLst>
          </p:cNvPr>
          <p:cNvSpPr/>
          <p:nvPr userDrawn="1"/>
        </p:nvSpPr>
        <p:spPr bwMode="gray">
          <a:xfrm rot="678011">
            <a:off x="8804638" y="-73353"/>
            <a:ext cx="18002" cy="7012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FB85DB5-58DF-4F00-A676-245A6AB609B3}"/>
              </a:ext>
            </a:extLst>
          </p:cNvPr>
          <p:cNvSpPr/>
          <p:nvPr userDrawn="1"/>
        </p:nvSpPr>
        <p:spPr bwMode="gray">
          <a:xfrm rot="678011">
            <a:off x="3389461" y="2146778"/>
            <a:ext cx="18002" cy="477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MIO_VALID_LAYOUT" hidden="1">
            <a:extLst>
              <a:ext uri="{FF2B5EF4-FFF2-40B4-BE49-F238E27FC236}">
                <a16:creationId xmlns:a16="http://schemas.microsoft.com/office/drawing/2014/main" id="{631A64EA-E53B-4CD9-A54F-8CAE2D833387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Logoschutz" hidden="1">
            <a:extLst>
              <a:ext uri="{FF2B5EF4-FFF2-40B4-BE49-F238E27FC236}">
                <a16:creationId xmlns:a16="http://schemas.microsoft.com/office/drawing/2014/main" id="{63196789-4B61-478D-BB73-490EB508D0F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288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DF10D3-0705-48B1-850A-F8EE4257FE73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8119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A3A36A1-3991-4BA2-906C-7B25DC73D115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3980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76ED653-63D9-48FD-8660-58C4BC8A730F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7453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170E633-6266-4EC2-8D09-5756E516ACDD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0285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2FDB11-8E61-4546-A516-DC5DB23A5BAC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9506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BF5C721-1D40-4EA4-99E1-FA58D5764188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0503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AB03B9-A374-4410-821D-6068806042C4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3312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9ED5D71D-07B8-4482-A48C-719943BF0A45}" type="datetime1">
              <a:rPr lang="en-US" smtClean="0"/>
              <a:t>8/9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5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391283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5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709458" y="1434793"/>
            <a:ext cx="3621023" cy="592952"/>
          </a:xfrm>
        </p:spPr>
        <p:txBody>
          <a:bodyPr/>
          <a:lstStyle/>
          <a:p>
            <a:r>
              <a:rPr lang="de-DE" dirty="0"/>
              <a:t>John Camer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latin typeface="Arial"/>
                <a:ea typeface="Arial Unicode MS"/>
                <a:cs typeface="Arial"/>
              </a:rPr>
              <a:t>/// Bayer 16:9 Template Chart Pool /// April 202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latin typeface="Arial"/>
                <a:ea typeface="Arial Unicode MS"/>
                <a:cs typeface="Arial"/>
              </a:rPr>
              <a:pPr/>
              <a:t>1</a:t>
            </a:fld>
            <a:endParaRPr lang="en-US" dirty="0">
              <a:latin typeface="Arial"/>
              <a:ea typeface="Arial Unicode MS"/>
              <a:cs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709653" y="2041089"/>
            <a:ext cx="3620828" cy="1440000"/>
          </a:xfrm>
        </p:spPr>
        <p:txBody>
          <a:bodyPr/>
          <a:lstStyle/>
          <a:p>
            <a:r>
              <a:rPr lang="de-DE" dirty="0"/>
              <a:t>Project update: </a:t>
            </a:r>
            <a:r>
              <a:rPr lang="de-DE" dirty="0" err="1"/>
              <a:t>targeted</a:t>
            </a:r>
            <a:r>
              <a:rPr lang="de-DE" dirty="0"/>
              <a:t> </a:t>
            </a:r>
            <a:r>
              <a:rPr lang="de-DE" dirty="0" err="1"/>
              <a:t>recombination</a:t>
            </a:r>
            <a:r>
              <a:rPr lang="de-DE" dirty="0"/>
              <a:t> </a:t>
            </a:r>
            <a:r>
              <a:rPr lang="de-DE" dirty="0" err="1"/>
              <a:t>optimizatio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414582" y="4262151"/>
            <a:ext cx="2915899" cy="480671"/>
          </a:xfrm>
        </p:spPr>
        <p:txBody>
          <a:bodyPr/>
          <a:lstStyle/>
          <a:p>
            <a:r>
              <a:rPr lang="en-US" dirty="0"/>
              <a:t>8/9/2022</a:t>
            </a:r>
          </a:p>
          <a:p>
            <a:endParaRPr lang="de-DE" dirty="0"/>
          </a:p>
        </p:txBody>
      </p:sp>
      <p:pic>
        <p:nvPicPr>
          <p:cNvPr id="10" name="Picture Placeholder 6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" r="206"/>
          <a:stretch>
            <a:fillRect/>
          </a:stretch>
        </p:blipFill>
        <p:spPr bwMode="blackGray"/>
      </p:pic>
    </p:spTree>
    <p:extLst>
      <p:ext uri="{BB962C8B-B14F-4D97-AF65-F5344CB8AC3E}">
        <p14:creationId xmlns:p14="http://schemas.microsoft.com/office/powerpoint/2010/main" val="241911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D0AB5501-D060-A157-9F66-FD05FA7BAF07}"/>
              </a:ext>
            </a:extLst>
          </p:cNvPr>
          <p:cNvGrpSpPr/>
          <p:nvPr/>
        </p:nvGrpSpPr>
        <p:grpSpPr>
          <a:xfrm>
            <a:off x="351189" y="1595135"/>
            <a:ext cx="3101007" cy="3997284"/>
            <a:chOff x="828261" y="1595135"/>
            <a:chExt cx="3101007" cy="399728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9BF4708-F094-AC48-6CAD-8EFB9120DDBA}"/>
                </a:ext>
              </a:extLst>
            </p:cNvPr>
            <p:cNvSpPr txBox="1"/>
            <p:nvPr/>
          </p:nvSpPr>
          <p:spPr bwMode="gray">
            <a:xfrm>
              <a:off x="2491991" y="2532185"/>
              <a:ext cx="0" cy="0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36589AB-39CD-08F7-4ED6-D7A5C2C60B9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48139" y="2703444"/>
              <a:ext cx="0" cy="2888975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BCF2E38-24AF-0B9F-3754-DF02884FCE6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391479" y="2719820"/>
              <a:ext cx="9939" cy="2872598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3DC746F-E893-2BB5-A146-0437C60431A5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48139" y="1606637"/>
              <a:ext cx="2438399" cy="1104995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EC685CC-5C1C-9A65-8EBF-EE12EA84F2BA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401418" y="1606637"/>
              <a:ext cx="2488094" cy="1113182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C64F84C-071E-A86B-38B0-25CC5C3BD87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286538" y="1606637"/>
              <a:ext cx="60297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F127C81-C6F6-BA0B-960E-A2A2CC358A2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4887" y="5579167"/>
              <a:ext cx="59547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4582663-C4BB-E948-8BAC-06AB28B0657F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417109" y="4073482"/>
              <a:ext cx="2472403" cy="1492433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01AC0AF-59E2-ED5F-E389-ED8142DEF6D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3876260" y="1610139"/>
              <a:ext cx="0" cy="2463343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E2F6BBE-53FF-3367-4D0E-D7F8B0E8C15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28261" y="2711632"/>
              <a:ext cx="602974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2A5EA88-F616-CA18-85EE-2F230B14202B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3278254" y="1595135"/>
              <a:ext cx="8284" cy="2465093"/>
            </a:xfrm>
            <a:prstGeom prst="line">
              <a:avLst/>
            </a:prstGeom>
            <a:ln w="381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53B2981-E9A3-1E1A-2E94-FF321A21837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911083" y="4073482"/>
              <a:ext cx="2367171" cy="1401228"/>
            </a:xfrm>
            <a:prstGeom prst="line">
              <a:avLst/>
            </a:prstGeom>
            <a:ln w="381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4C43694-077D-0FF5-B9F6-001C5D23A92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405806" y="4073482"/>
              <a:ext cx="523462" cy="0"/>
            </a:xfrm>
            <a:prstGeom prst="line">
              <a:avLst/>
            </a:prstGeom>
            <a:ln w="381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56593A6D-96E9-F14C-D641-1BDD069A9C7F}"/>
              </a:ext>
            </a:extLst>
          </p:cNvPr>
          <p:cNvSpPr txBox="1"/>
          <p:nvPr/>
        </p:nvSpPr>
        <p:spPr bwMode="gray">
          <a:xfrm>
            <a:off x="2279386" y="4981065"/>
            <a:ext cx="1298695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k: individual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E1E78D4-E21B-B2E1-229F-C2DF26C6BC3D}"/>
              </a:ext>
            </a:extLst>
          </p:cNvPr>
          <p:cNvSpPr txBox="1"/>
          <p:nvPr/>
        </p:nvSpPr>
        <p:spPr bwMode="gray">
          <a:xfrm>
            <a:off x="274998" y="5699993"/>
            <a:ext cx="1298695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j: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homolog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3464F83-E817-BC2D-93BE-CC71FFD4240D}"/>
              </a:ext>
            </a:extLst>
          </p:cNvPr>
          <p:cNvSpPr txBox="1"/>
          <p:nvPr/>
        </p:nvSpPr>
        <p:spPr bwMode="gray">
          <a:xfrm>
            <a:off x="982326" y="3462128"/>
            <a:ext cx="1298695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i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 marker loci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FE5F056-DA6F-E05A-269E-43FB51D6D565}"/>
              </a:ext>
            </a:extLst>
          </p:cNvPr>
          <p:cNvSpPr txBox="1"/>
          <p:nvPr/>
        </p:nvSpPr>
        <p:spPr bwMode="gray">
          <a:xfrm>
            <a:off x="655125" y="1088236"/>
            <a:ext cx="2154341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Data: phased marker- effect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584EAF2-7AE5-95CB-518B-8FE451620A45}"/>
              </a:ext>
            </a:extLst>
          </p:cNvPr>
          <p:cNvSpPr txBox="1"/>
          <p:nvPr/>
        </p:nvSpPr>
        <p:spPr bwMode="gray">
          <a:xfrm>
            <a:off x="5618924" y="422033"/>
            <a:ext cx="2154342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</a:rPr>
              <a:t>Decision variable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C07377E-446D-4BBF-4000-D1B12D0A2E41}"/>
              </a:ext>
            </a:extLst>
          </p:cNvPr>
          <p:cNvSpPr txBox="1"/>
          <p:nvPr/>
        </p:nvSpPr>
        <p:spPr bwMode="gray">
          <a:xfrm>
            <a:off x="6776182" y="1089706"/>
            <a:ext cx="3242462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 Optimal recombination    points/haplotypes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D7C64E0-E9CC-0A73-5383-5CCB6D6F2DB0}"/>
              </a:ext>
            </a:extLst>
          </p:cNvPr>
          <p:cNvCxnSpPr>
            <a:cxnSpLocks/>
          </p:cNvCxnSpPr>
          <p:nvPr/>
        </p:nvCxnSpPr>
        <p:spPr bwMode="gray">
          <a:xfrm flipV="1">
            <a:off x="4386471" y="1654771"/>
            <a:ext cx="0" cy="35467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E441339-C3C7-BB80-A70D-60406A32EF21}"/>
              </a:ext>
            </a:extLst>
          </p:cNvPr>
          <p:cNvCxnSpPr>
            <a:cxnSpLocks/>
          </p:cNvCxnSpPr>
          <p:nvPr/>
        </p:nvCxnSpPr>
        <p:spPr bwMode="gray">
          <a:xfrm flipV="1">
            <a:off x="4724402" y="1654771"/>
            <a:ext cx="0" cy="354495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F4A9DE-FDD5-A505-4E1A-2F8F086F080C}"/>
              </a:ext>
            </a:extLst>
          </p:cNvPr>
          <p:cNvCxnSpPr>
            <a:cxnSpLocks/>
          </p:cNvCxnSpPr>
          <p:nvPr/>
        </p:nvCxnSpPr>
        <p:spPr bwMode="gray">
          <a:xfrm flipV="1">
            <a:off x="5102089" y="1654771"/>
            <a:ext cx="0" cy="3544958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DE80CE6-DB2F-9D25-9A9D-DC731A018093}"/>
              </a:ext>
            </a:extLst>
          </p:cNvPr>
          <p:cNvCxnSpPr>
            <a:cxnSpLocks/>
          </p:cNvCxnSpPr>
          <p:nvPr/>
        </p:nvCxnSpPr>
        <p:spPr bwMode="gray">
          <a:xfrm flipV="1">
            <a:off x="5479776" y="1654771"/>
            <a:ext cx="0" cy="3544958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3B966B5A-674F-C742-EF34-C7408344A3C5}"/>
              </a:ext>
            </a:extLst>
          </p:cNvPr>
          <p:cNvCxnSpPr>
            <a:cxnSpLocks/>
          </p:cNvCxnSpPr>
          <p:nvPr/>
        </p:nvCxnSpPr>
        <p:spPr bwMode="gray">
          <a:xfrm flipV="1">
            <a:off x="7560368" y="1654771"/>
            <a:ext cx="0" cy="354670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FCF0F26F-55B3-209E-16F3-1B87B5AB0947}"/>
              </a:ext>
            </a:extLst>
          </p:cNvPr>
          <p:cNvCxnSpPr>
            <a:cxnSpLocks/>
          </p:cNvCxnSpPr>
          <p:nvPr/>
        </p:nvCxnSpPr>
        <p:spPr bwMode="gray">
          <a:xfrm flipV="1">
            <a:off x="7898299" y="1654771"/>
            <a:ext cx="0" cy="354495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BEF7CC0-D959-BD84-C2E7-7D6E822FAAB9}"/>
              </a:ext>
            </a:extLst>
          </p:cNvPr>
          <p:cNvCxnSpPr>
            <a:cxnSpLocks/>
          </p:cNvCxnSpPr>
          <p:nvPr/>
        </p:nvCxnSpPr>
        <p:spPr bwMode="gray">
          <a:xfrm flipV="1">
            <a:off x="8275986" y="1654771"/>
            <a:ext cx="0" cy="3544958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2115AABD-A9DA-B4BF-4D21-FF4095B731F5}"/>
              </a:ext>
            </a:extLst>
          </p:cNvPr>
          <p:cNvCxnSpPr>
            <a:cxnSpLocks/>
          </p:cNvCxnSpPr>
          <p:nvPr/>
        </p:nvCxnSpPr>
        <p:spPr bwMode="gray">
          <a:xfrm flipV="1">
            <a:off x="8653673" y="1654771"/>
            <a:ext cx="0" cy="3544958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125C795B-FBD5-0E24-5A3E-AB23E1D65FDA}"/>
              </a:ext>
            </a:extLst>
          </p:cNvPr>
          <p:cNvCxnSpPr>
            <a:cxnSpLocks/>
          </p:cNvCxnSpPr>
          <p:nvPr/>
        </p:nvCxnSpPr>
        <p:spPr bwMode="gray">
          <a:xfrm flipV="1">
            <a:off x="7898299" y="1657302"/>
            <a:ext cx="0" cy="501832"/>
          </a:xfrm>
          <a:prstGeom prst="line">
            <a:avLst/>
          </a:prstGeom>
          <a:ln w="5715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96A342C-3F30-6AA0-1A99-1420DA471BA9}"/>
              </a:ext>
            </a:extLst>
          </p:cNvPr>
          <p:cNvCxnSpPr>
            <a:cxnSpLocks/>
          </p:cNvCxnSpPr>
          <p:nvPr/>
        </p:nvCxnSpPr>
        <p:spPr bwMode="gray">
          <a:xfrm flipV="1">
            <a:off x="8653673" y="2159134"/>
            <a:ext cx="0" cy="1100901"/>
          </a:xfrm>
          <a:prstGeom prst="line">
            <a:avLst/>
          </a:prstGeom>
          <a:ln w="5715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3491D757-C82F-4A4B-A439-56DD8F889F45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7548542" y="3260035"/>
            <a:ext cx="0" cy="1939694"/>
          </a:xfrm>
          <a:prstGeom prst="line">
            <a:avLst/>
          </a:prstGeom>
          <a:ln w="5715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4EC016F8-32DD-A993-B2B7-EECE486788C6}"/>
              </a:ext>
            </a:extLst>
          </p:cNvPr>
          <p:cNvSpPr txBox="1"/>
          <p:nvPr/>
        </p:nvSpPr>
        <p:spPr bwMode="gray">
          <a:xfrm>
            <a:off x="3839385" y="1089706"/>
            <a:ext cx="2154342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</a:rPr>
              <a:t>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 mate-pair to cross</a:t>
            </a: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F07D1B0-2238-EC7F-E5CD-69301C6442DA}"/>
              </a:ext>
            </a:extLst>
          </p:cNvPr>
          <p:cNvGrpSpPr/>
          <p:nvPr/>
        </p:nvGrpSpPr>
        <p:grpSpPr>
          <a:xfrm>
            <a:off x="10796209" y="1631580"/>
            <a:ext cx="0" cy="3568149"/>
            <a:chOff x="10425147" y="1631580"/>
            <a:chExt cx="0" cy="3568149"/>
          </a:xfrm>
        </p:grpSpPr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5CB35C9C-1EBD-4E7B-1275-4079A76AD4EA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0425147" y="1631580"/>
              <a:ext cx="0" cy="52755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B0E3E319-277C-5BA2-3A96-ECE21D4E7894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0425147" y="2159134"/>
              <a:ext cx="0" cy="1100901"/>
            </a:xfrm>
            <a:prstGeom prst="line">
              <a:avLst/>
            </a:prstGeom>
            <a:ln w="381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99E58FB9-E7CF-3394-CC42-E7EB9D632668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0425147" y="3260035"/>
              <a:ext cx="0" cy="193969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DB7BBACF-CA9F-3D92-ADD3-6E70C59A8F3A}"/>
              </a:ext>
            </a:extLst>
          </p:cNvPr>
          <p:cNvSpPr txBox="1"/>
          <p:nvPr/>
        </p:nvSpPr>
        <p:spPr bwMode="gray">
          <a:xfrm>
            <a:off x="9718318" y="1088235"/>
            <a:ext cx="3242462" cy="49364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</a:rPr>
              <a:t>x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: Optimal haplotyp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3FC35DAE-4896-ADF0-5EBE-82A71EE97E42}"/>
                  </a:ext>
                </a:extLst>
              </p:cNvPr>
              <p:cNvSpPr txBox="1"/>
              <p:nvPr/>
            </p:nvSpPr>
            <p:spPr bwMode="gray">
              <a:xfrm>
                <a:off x="5618924" y="5609269"/>
                <a:ext cx="2154342" cy="493645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Objective function</a:t>
                </a: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en-US" sz="1800" b="0" i="1" u="none" baseline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r>
                            <a:rPr lang="en-US" sz="1800" b="0" i="1" u="none" baseline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nary>
                    </m:oMath>
                  </m:oMathPara>
                </a14:m>
                <a:endParaRPr lang="en-US" sz="18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3FC35DAE-4896-ADF0-5EBE-82A71EE97E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618924" y="5609269"/>
                <a:ext cx="2154342" cy="493645"/>
              </a:xfrm>
              <a:prstGeom prst="rect">
                <a:avLst/>
              </a:prstGeom>
              <a:blipFill>
                <a:blip r:embed="rId3"/>
                <a:stretch>
                  <a:fillRect l="-6471" t="-140000" b="-35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E945B1C2-0797-8FFE-AE1D-B7ED0C084D8E}"/>
              </a:ext>
            </a:extLst>
          </p:cNvPr>
          <p:cNvCxnSpPr/>
          <p:nvPr/>
        </p:nvCxnSpPr>
        <p:spPr bwMode="gray">
          <a:xfrm flipH="1">
            <a:off x="8772939" y="2159134"/>
            <a:ext cx="702366" cy="0"/>
          </a:xfrm>
          <a:prstGeom prst="straightConnector1">
            <a:avLst/>
          </a:prstGeom>
          <a:ln w="698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6A9C385B-A3C8-6D3A-7DBA-829832C67214}"/>
              </a:ext>
            </a:extLst>
          </p:cNvPr>
          <p:cNvCxnSpPr/>
          <p:nvPr/>
        </p:nvCxnSpPr>
        <p:spPr bwMode="gray">
          <a:xfrm flipH="1">
            <a:off x="8779566" y="3252438"/>
            <a:ext cx="702366" cy="0"/>
          </a:xfrm>
          <a:prstGeom prst="straightConnector1">
            <a:avLst/>
          </a:prstGeom>
          <a:ln w="698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338250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E04B4219-6CE2-AD96-5DEE-56A654555F31}"/>
                  </a:ext>
                </a:extLst>
              </p:cNvPr>
              <p:cNvSpPr txBox="1"/>
              <p:nvPr/>
            </p:nvSpPr>
            <p:spPr bwMode="gray">
              <a:xfrm>
                <a:off x="986413" y="77763"/>
                <a:ext cx="914400" cy="914400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noAutofit/>
              </a:bodyPr>
              <a:lstStyle/>
              <a:p>
                <a:pPr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1400" b="0" i="1" u="none" baseline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US" sz="18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US" sz="18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E04B4219-6CE2-AD96-5DEE-56A654555F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6413" y="77763"/>
                <a:ext cx="914400" cy="914400"/>
              </a:xfrm>
              <a:prstGeom prst="rect">
                <a:avLst/>
              </a:prstGeom>
              <a:blipFill>
                <a:blip r:embed="rId3"/>
                <a:stretch>
                  <a:fillRect t="-27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2DFB609-29C4-7D8A-73C1-C65BF54DF643}"/>
                  </a:ext>
                </a:extLst>
              </p:cNvPr>
              <p:cNvSpPr txBox="1"/>
              <p:nvPr/>
            </p:nvSpPr>
            <p:spPr bwMode="gray">
              <a:xfrm>
                <a:off x="735735" y="0"/>
                <a:ext cx="11655048" cy="62902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𝜁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 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𝑗</m:t>
                                  </m:r>
                                </m:sub>
                              </m:sSub>
                            </m:e>
                          </m:nary>
                        </m:e>
                      </m:func>
                    </m:oMath>
                  </m:oMathPara>
                </a14:m>
                <a:endParaRPr lang="en-US" b="0" i="1" u="none" baseline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b="0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en-US" b="0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m:rPr>
                          <m:sty m:val="p"/>
                        </m:rPr>
                        <a:rPr lang="en-US" b="0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en-US" b="0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. </m:t>
                      </m:r>
                    </m:oMath>
                  </m:oMathPara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/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11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21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+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3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endParaRPr lang="en-US" b="0" u="none" baseline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b="0" u="none" baseline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b="0" i="0" u="none" baseline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u="none" baseline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1</m:t>
                        </m:r>
                        <m:r>
                          <m:rPr>
                            <m:sty m:val="p"/>
                          </m:rPr>
                          <a:rPr lang="en-US" b="0" i="0" u="none" baseline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u="none" baseline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b="0" u="none" baseline="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+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b="0" u="none" baseline="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=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Cambria Math" panose="02040503050406030204" pitchFamily="18" charset="0"/>
                  </a:rPr>
                  <a:t> </a:t>
                </a: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+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=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+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=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+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=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</a:endParaRP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+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=</a:t>
                </a:r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b="0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1 </m:t>
                    </m:r>
                  </m:oMath>
                </a14:m>
                <a:endParaRPr lang="en-US" b="0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4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1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3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8</m:t>
                    </m:r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j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nary>
                      <m:naryPr>
                        <m:chr m:val="∑"/>
                        <m:supHide m:val="on"/>
                        <m:ctrlPr>
                          <a:rPr lang="en-US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  <m:brk m:alnAt="7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k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s</m:t>
                            </m:r>
                          </m:e>
                          <m:sub>
                            <m:r>
                              <a:rPr lang="en-US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k</m:t>
                            </m:r>
                          </m:sub>
                        </m:s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n-US" b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data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ijk</m:t>
                            </m:r>
                          </m:sub>
                        </m:sSub>
                      </m:e>
                    </m:nary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∀ </m:t>
                    </m:r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i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 b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</m:t>
                        </m:r>
                      </m:e>
                    </m:d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j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e>
                    </m:d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q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nary>
                      <m:naryPr>
                        <m:chr m:val="∑"/>
                        <m:supHide m:val="on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  <m:brk m:alnAt="7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k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s</m:t>
                            </m:r>
                          </m:e>
                          <m:sub>
                            <m:r>
                              <a:rPr lang="en-US" i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k</m:t>
                            </m:r>
                          </m:sub>
                        </m:s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∗</m:t>
                        </m:r>
                        <m:sSub>
                          <m:sSubPr>
                            <m:ctrlPr>
                              <a:rPr lang="en-US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data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ijk</m:t>
                            </m:r>
                          </m:sub>
                        </m:sSub>
                      </m:e>
                    </m:nary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i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j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q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,4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j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1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1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</a:rPr>
                      <m:t>+</m:t>
                    </m:r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</a:rPr>
                      <m:t> 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i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</m:t>
                        </m:r>
                      </m:e>
                    </m:d>
                    <m:r>
                      <a:rPr lang="en-US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j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j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2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2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</a:rPr>
                      <m:t>+</m:t>
                    </m:r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</a:rPr>
                      <m:t> 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2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2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j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j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3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3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</a:rPr>
                      <m:t>+</m:t>
                    </m:r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</a:rPr>
                      <m:t> 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3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3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j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j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4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</a:rPr>
                      <m:t>+</m:t>
                    </m:r>
                    <m:r>
                      <m:rPr>
                        <m:nor/>
                      </m:rPr>
                      <a:rPr lang="en-US" dirty="0">
                        <a:solidFill>
                          <a:srgbClr val="000000"/>
                        </a:solidFill>
                      </a:rPr>
                      <m:t> 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4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34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i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j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b="0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		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  <m:brk m:alnAt="7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k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s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j</m:t>
                            </m:r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k</m:t>
                            </m:r>
                          </m:sub>
                        </m:sSub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e>
                    </m:nary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j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</m:t>
                        </m:r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e>
                    </m:d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∀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k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2…</m:t>
                        </m:r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n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k</m:t>
                        </m:r>
                      </m:sub>
                    </m:sSub>
                    <m:r>
                      <a:rPr lang="en-US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j</m:t>
                        </m:r>
                        <m:r>
                          <m:rPr>
                            <m:sty m:val="p"/>
                          </m:r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k</m:t>
                        </m:r>
                      </m:sub>
                    </m:sSub>
                    <m:r>
                      <a:rPr lang="en-US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ϵ</m:t>
                    </m:r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{"/>
                        <m:endChr m:val="}"/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0,1</m:t>
                        </m:r>
                      </m:e>
                    </m:d>
                  </m:oMath>
                </a14:m>
                <a:endParaRPr lang="en-US" dirty="0">
                  <a:solidFill>
                    <a:srgbClr val="000000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342900" indent="-342900">
                  <a:buFont typeface="+mj-lt"/>
                  <a:buAutoNum type="arabicParenR"/>
                </a:pPr>
                <a:r>
                  <a:rPr lang="en-US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i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j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000000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i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</m:oMath>
                </a14:m>
                <a:r>
                  <a:rPr lang="en-US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0</a:t>
                </a:r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2DFB609-29C4-7D8A-73C1-C65BF54DF6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735735" y="0"/>
                <a:ext cx="11655048" cy="6290248"/>
              </a:xfrm>
              <a:prstGeom prst="rect">
                <a:avLst/>
              </a:prstGeom>
              <a:blipFill>
                <a:blip r:embed="rId4"/>
                <a:stretch>
                  <a:fillRect l="-436" t="-15121" b="-2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93453979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1E38A1-CDEA-347F-D16F-3AEFB1E5E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92522-833B-BE8E-50A3-FCB0E6A36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Chart Pool /// April 202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F8310A-C004-8AD1-9F2F-945F67E5E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C1A717-B15C-6B7B-BF9A-2C2B63D7BD86}"/>
              </a:ext>
            </a:extLst>
          </p:cNvPr>
          <p:cNvSpPr txBox="1"/>
          <p:nvPr/>
        </p:nvSpPr>
        <p:spPr bwMode="gray">
          <a:xfrm>
            <a:off x="981949" y="1460767"/>
            <a:ext cx="10388416" cy="407864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Use Bayer training sets to determin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Optimal mate pairs and recombination poi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he increase in genetic gain relative to ‘conventional’ 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Can we solve deterministically, or do we need to use heuristic solv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Other Ques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Can we feasibly build desirable haplotype using PCV selection faster than pyramiding approach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Can we pick a set of mates and recombination points that maximize genetic gain and genetic variance (response surface building)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t>Can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we look at selection optimal gametes in both heterotic groups to maximize complementarity of desirable alleles at each locu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77530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16:9 Template Chart Pool /// April 2022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2" name="Bildplatzhalter 11"/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" r="7"/>
          <a:stretch>
            <a:fillRect/>
          </a:stretch>
        </p:blipFill>
        <p:spPr/>
      </p:pic>
      <p:sp>
        <p:nvSpPr>
          <p:cNvPr id="5" name="TextBox 12"/>
          <p:cNvSpPr txBox="1"/>
          <p:nvPr/>
        </p:nvSpPr>
        <p:spPr bwMode="gray">
          <a:xfrm>
            <a:off x="9118667" y="2765298"/>
            <a:ext cx="2664553" cy="16544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200" b="1" dirty="0">
                <a:solidFill>
                  <a:schemeClr val="tx2"/>
                </a:solidFill>
              </a:rPr>
              <a:t>Advancing</a:t>
            </a:r>
          </a:p>
          <a:p>
            <a:pPr algn="r">
              <a:lnSpc>
                <a:spcPct val="85000"/>
              </a:lnSpc>
            </a:pPr>
            <a:r>
              <a:rPr lang="en-US" sz="9600" i="1" dirty="0">
                <a:solidFill>
                  <a:schemeClr val="bg1"/>
                </a:solidFill>
              </a:rPr>
              <a:t>life</a:t>
            </a:r>
            <a:endParaRPr lang="en-US" sz="10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747647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_bg_chart-pool_16-9_2022-04-22" id="{3A2B4AE1-4CB4-1B42-8B8D-61DCCFE3ABC2}" vid="{B435DA15-1DDE-FF44-806B-61B11464A6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21</TotalTime>
  <Words>500</Words>
  <Application>Microsoft Macintosh PowerPoint</Application>
  <PresentationFormat>Widescreen</PresentationFormat>
  <Paragraphs>62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Cambria Math</vt:lpstr>
      <vt:lpstr>PR_BAG_PPT-master_16-9</vt:lpstr>
      <vt:lpstr>Project update: targeted recombination optimization</vt:lpstr>
      <vt:lpstr>PowerPoint Presentation</vt:lpstr>
      <vt:lpstr>PowerPoint Presentation</vt:lpstr>
      <vt:lpstr>Test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update: targeted recombination optimization</dc:title>
  <dc:creator>John Cameron</dc:creator>
  <cp:lastModifiedBy>John Cameron</cp:lastModifiedBy>
  <cp:revision>20</cp:revision>
  <dcterms:created xsi:type="dcterms:W3CDTF">2022-08-09T18:11:31Z</dcterms:created>
  <dcterms:modified xsi:type="dcterms:W3CDTF">2022-08-12T18:1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2-08-09T18:11:31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3449e493-9225-4f5c-89ef-15de2f1c62fa</vt:lpwstr>
  </property>
  <property fmtid="{D5CDD505-2E9C-101B-9397-08002B2CF9AE}" pid="8" name="MSIP_Label_2c76c141-ac86-40e5-abf2-c6f60e474cee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RESTRICTED</vt:lpwstr>
  </property>
</Properties>
</file>